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5"/>
  </p:sldMasterIdLst>
  <p:notesMasterIdLst>
    <p:notesMasterId r:id="rId31"/>
  </p:notesMasterIdLst>
  <p:handoutMasterIdLst>
    <p:handoutMasterId r:id="rId32"/>
  </p:handoutMasterIdLst>
  <p:sldIdLst>
    <p:sldId id="309" r:id="rId6"/>
    <p:sldId id="2145706626" r:id="rId7"/>
    <p:sldId id="489" r:id="rId8"/>
    <p:sldId id="2145706645" r:id="rId9"/>
    <p:sldId id="2145706627" r:id="rId10"/>
    <p:sldId id="2145706629" r:id="rId11"/>
    <p:sldId id="2076138510" r:id="rId12"/>
    <p:sldId id="2145706630" r:id="rId13"/>
    <p:sldId id="2145706631" r:id="rId14"/>
    <p:sldId id="2145706632" r:id="rId15"/>
    <p:sldId id="2145706634" r:id="rId16"/>
    <p:sldId id="2145706644" r:id="rId17"/>
    <p:sldId id="2145706633" r:id="rId18"/>
    <p:sldId id="2145706621" r:id="rId19"/>
    <p:sldId id="2145706623" r:id="rId20"/>
    <p:sldId id="2145706624" r:id="rId21"/>
    <p:sldId id="2145706625" r:id="rId22"/>
    <p:sldId id="2145706636" r:id="rId23"/>
    <p:sldId id="2145706637" r:id="rId24"/>
    <p:sldId id="2145706642" r:id="rId25"/>
    <p:sldId id="2145706641" r:id="rId26"/>
    <p:sldId id="2145706648" r:id="rId27"/>
    <p:sldId id="2145706643" r:id="rId28"/>
    <p:sldId id="2145706647" r:id="rId29"/>
    <p:sldId id="214570664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9DDC8"/>
    <a:srgbClr val="D8C0C0"/>
    <a:srgbClr val="BFBFBF"/>
    <a:srgbClr val="6F6F71"/>
    <a:srgbClr val="41414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1ED20F-48AD-485E-B132-4355CCA9B1DB}" v="1327" dt="2022-09-18T14:48:18.8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03" d="100"/>
          <a:sy n="103" d="100"/>
        </p:scale>
        <p:origin x="114" y="384"/>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120" d="100"/>
          <a:sy n="120" d="100"/>
        </p:scale>
        <p:origin x="4962" y="13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ff Bennett" userId="18e2b201-f278-4657-aca6-41509691b92d" providerId="ADAL" clId="{3D1ED20F-48AD-485E-B132-4355CCA9B1DB}"/>
    <pc:docChg chg="undo custSel addSld delSld modSld sldOrd modMainMaster">
      <pc:chgData name="Geoff Bennett" userId="18e2b201-f278-4657-aca6-41509691b92d" providerId="ADAL" clId="{3D1ED20F-48AD-485E-B132-4355CCA9B1DB}" dt="2022-09-18T14:52:48.321" v="12195"/>
      <pc:docMkLst>
        <pc:docMk/>
      </pc:docMkLst>
      <pc:sldChg chg="delSp modSp mod modTransition">
        <pc:chgData name="Geoff Bennett" userId="18e2b201-f278-4657-aca6-41509691b92d" providerId="ADAL" clId="{3D1ED20F-48AD-485E-B132-4355CCA9B1DB}" dt="2022-09-18T14:43:46.007" v="12146" actId="403"/>
        <pc:sldMkLst>
          <pc:docMk/>
          <pc:sldMk cId="1659742494" sldId="309"/>
        </pc:sldMkLst>
        <pc:spChg chg="mod">
          <ac:chgData name="Geoff Bennett" userId="18e2b201-f278-4657-aca6-41509691b92d" providerId="ADAL" clId="{3D1ED20F-48AD-485E-B132-4355CCA9B1DB}" dt="2022-05-08T15:48:04.510" v="7492" actId="14100"/>
          <ac:spMkLst>
            <pc:docMk/>
            <pc:sldMk cId="1659742494" sldId="309"/>
            <ac:spMk id="2" creationId="{0659BB8B-8B16-4669-88C1-855A04DE7DA6}"/>
          </ac:spMkLst>
        </pc:spChg>
        <pc:spChg chg="mod">
          <ac:chgData name="Geoff Bennett" userId="18e2b201-f278-4657-aca6-41509691b92d" providerId="ADAL" clId="{3D1ED20F-48AD-485E-B132-4355CCA9B1DB}" dt="2022-09-18T14:43:46.007" v="12146" actId="403"/>
          <ac:spMkLst>
            <pc:docMk/>
            <pc:sldMk cId="1659742494" sldId="309"/>
            <ac:spMk id="3" creationId="{37669BEF-666F-4D34-BD7F-13A834FB98C0}"/>
          </ac:spMkLst>
        </pc:spChg>
        <pc:spChg chg="del mod">
          <ac:chgData name="Geoff Bennett" userId="18e2b201-f278-4657-aca6-41509691b92d" providerId="ADAL" clId="{3D1ED20F-48AD-485E-B132-4355CCA9B1DB}" dt="2022-09-18T14:43:43.402" v="12143" actId="478"/>
          <ac:spMkLst>
            <pc:docMk/>
            <pc:sldMk cId="1659742494" sldId="309"/>
            <ac:spMk id="4" creationId="{3ED44A54-FC60-454E-AB81-CFC734A74325}"/>
          </ac:spMkLst>
        </pc:spChg>
      </pc:sldChg>
      <pc:sldChg chg="add del ord modTransition">
        <pc:chgData name="Geoff Bennett" userId="18e2b201-f278-4657-aca6-41509691b92d" providerId="ADAL" clId="{3D1ED20F-48AD-485E-B132-4355CCA9B1DB}" dt="2022-09-18T14:11:56.280" v="10247" actId="47"/>
        <pc:sldMkLst>
          <pc:docMk/>
          <pc:sldMk cId="2683703541" sldId="313"/>
        </pc:sldMkLst>
      </pc:sldChg>
      <pc:sldChg chg="addSp delSp modSp add del mod modTransition delAnim modAnim">
        <pc:chgData name="Geoff Bennett" userId="18e2b201-f278-4657-aca6-41509691b92d" providerId="ADAL" clId="{3D1ED20F-48AD-485E-B132-4355CCA9B1DB}" dt="2022-09-18T14:46:08.600" v="12166" actId="47"/>
        <pc:sldMkLst>
          <pc:docMk/>
          <pc:sldMk cId="3739919665" sldId="409"/>
        </pc:sldMkLst>
        <pc:spChg chg="add mod">
          <ac:chgData name="Geoff Bennett" userId="18e2b201-f278-4657-aca6-41509691b92d" providerId="ADAL" clId="{3D1ED20F-48AD-485E-B132-4355CCA9B1DB}" dt="2022-05-06T10:49:11.151" v="1757" actId="164"/>
          <ac:spMkLst>
            <pc:docMk/>
            <pc:sldMk cId="3739919665" sldId="409"/>
            <ac:spMk id="2" creationId="{DEA974BC-A572-4159-A9A7-19B368874F3B}"/>
          </ac:spMkLst>
        </pc:spChg>
        <pc:spChg chg="add mod">
          <ac:chgData name="Geoff Bennett" userId="18e2b201-f278-4657-aca6-41509691b92d" providerId="ADAL" clId="{3D1ED20F-48AD-485E-B132-4355CCA9B1DB}" dt="2022-05-06T10:49:11.151" v="1757" actId="164"/>
          <ac:spMkLst>
            <pc:docMk/>
            <pc:sldMk cId="3739919665" sldId="409"/>
            <ac:spMk id="3" creationId="{B858343D-7687-4929-9121-8138ADDBBA23}"/>
          </ac:spMkLst>
        </pc:spChg>
        <pc:spChg chg="add mod">
          <ac:chgData name="Geoff Bennett" userId="18e2b201-f278-4657-aca6-41509691b92d" providerId="ADAL" clId="{3D1ED20F-48AD-485E-B132-4355CCA9B1DB}" dt="2022-09-18T14:33:05.783" v="11667" actId="164"/>
          <ac:spMkLst>
            <pc:docMk/>
            <pc:sldMk cId="3739919665" sldId="409"/>
            <ac:spMk id="4" creationId="{AEA2E5E7-014A-32D4-E9D7-F7FCF2B1A3C8}"/>
          </ac:spMkLst>
        </pc:spChg>
        <pc:spChg chg="add mod">
          <ac:chgData name="Geoff Bennett" userId="18e2b201-f278-4657-aca6-41509691b92d" providerId="ADAL" clId="{3D1ED20F-48AD-485E-B132-4355CCA9B1DB}" dt="2022-05-06T10:58:44.842" v="2035" actId="1036"/>
          <ac:spMkLst>
            <pc:docMk/>
            <pc:sldMk cId="3739919665" sldId="409"/>
            <ac:spMk id="9" creationId="{431DADFC-6A2B-4ED1-86AC-6FE167117490}"/>
          </ac:spMkLst>
        </pc:spChg>
        <pc:spChg chg="add mod">
          <ac:chgData name="Geoff Bennett" userId="18e2b201-f278-4657-aca6-41509691b92d" providerId="ADAL" clId="{3D1ED20F-48AD-485E-B132-4355CCA9B1DB}" dt="2022-05-06T10:49:11.151" v="1757" actId="164"/>
          <ac:spMkLst>
            <pc:docMk/>
            <pc:sldMk cId="3739919665" sldId="409"/>
            <ac:spMk id="26" creationId="{722D4CF6-4CFA-4D47-9E3D-1D90E210F8E9}"/>
          </ac:spMkLst>
        </pc:spChg>
        <pc:spChg chg="add mod">
          <ac:chgData name="Geoff Bennett" userId="18e2b201-f278-4657-aca6-41509691b92d" providerId="ADAL" clId="{3D1ED20F-48AD-485E-B132-4355CCA9B1DB}" dt="2022-05-06T10:50:06.880" v="1761" actId="164"/>
          <ac:spMkLst>
            <pc:docMk/>
            <pc:sldMk cId="3739919665" sldId="409"/>
            <ac:spMk id="31" creationId="{B34AF86C-1CF9-4400-803B-01B687711490}"/>
          </ac:spMkLst>
        </pc:spChg>
        <pc:spChg chg="add mod">
          <ac:chgData name="Geoff Bennett" userId="18e2b201-f278-4657-aca6-41509691b92d" providerId="ADAL" clId="{3D1ED20F-48AD-485E-B132-4355CCA9B1DB}" dt="2022-09-18T14:33:05.783" v="11667" actId="164"/>
          <ac:spMkLst>
            <pc:docMk/>
            <pc:sldMk cId="3739919665" sldId="409"/>
            <ac:spMk id="32" creationId="{A7817871-E660-DE5A-4125-CC0749F2D0D8}"/>
          </ac:spMkLst>
        </pc:spChg>
        <pc:spChg chg="mod">
          <ac:chgData name="Geoff Bennett" userId="18e2b201-f278-4657-aca6-41509691b92d" providerId="ADAL" clId="{3D1ED20F-48AD-485E-B132-4355CCA9B1DB}" dt="2022-05-06T09:39:09.985" v="1637" actId="20577"/>
          <ac:spMkLst>
            <pc:docMk/>
            <pc:sldMk cId="3739919665" sldId="409"/>
            <ac:spMk id="445445" creationId="{00000000-0000-0000-0000-000000000000}"/>
          </ac:spMkLst>
        </pc:spChg>
        <pc:spChg chg="mod">
          <ac:chgData name="Geoff Bennett" userId="18e2b201-f278-4657-aca6-41509691b92d" providerId="ADAL" clId="{3D1ED20F-48AD-485E-B132-4355CCA9B1DB}" dt="2022-05-06T09:22:49.417" v="1433" actId="403"/>
          <ac:spMkLst>
            <pc:docMk/>
            <pc:sldMk cId="3739919665" sldId="409"/>
            <ac:spMk id="445448" creationId="{00000000-0000-0000-0000-000000000000}"/>
          </ac:spMkLst>
        </pc:spChg>
        <pc:spChg chg="mod">
          <ac:chgData name="Geoff Bennett" userId="18e2b201-f278-4657-aca6-41509691b92d" providerId="ADAL" clId="{3D1ED20F-48AD-485E-B132-4355CCA9B1DB}" dt="2022-05-06T09:22:49.417" v="1433" actId="403"/>
          <ac:spMkLst>
            <pc:docMk/>
            <pc:sldMk cId="3739919665" sldId="409"/>
            <ac:spMk id="445449" creationId="{00000000-0000-0000-0000-000000000000}"/>
          </ac:spMkLst>
        </pc:spChg>
        <pc:spChg chg="mod">
          <ac:chgData name="Geoff Bennett" userId="18e2b201-f278-4657-aca6-41509691b92d" providerId="ADAL" clId="{3D1ED20F-48AD-485E-B132-4355CCA9B1DB}" dt="2022-05-06T09:22:49.417" v="1433" actId="403"/>
          <ac:spMkLst>
            <pc:docMk/>
            <pc:sldMk cId="3739919665" sldId="409"/>
            <ac:spMk id="445450" creationId="{00000000-0000-0000-0000-000000000000}"/>
          </ac:spMkLst>
        </pc:spChg>
        <pc:spChg chg="mod">
          <ac:chgData name="Geoff Bennett" userId="18e2b201-f278-4657-aca6-41509691b92d" providerId="ADAL" clId="{3D1ED20F-48AD-485E-B132-4355CCA9B1DB}" dt="2022-05-06T09:22:49.417" v="1433" actId="403"/>
          <ac:spMkLst>
            <pc:docMk/>
            <pc:sldMk cId="3739919665" sldId="409"/>
            <ac:spMk id="445451"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2"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4"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5"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6"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7"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8" creationId="{00000000-0000-0000-0000-000000000000}"/>
          </ac:spMkLst>
        </pc:spChg>
        <pc:spChg chg="mod">
          <ac:chgData name="Geoff Bennett" userId="18e2b201-f278-4657-aca6-41509691b92d" providerId="ADAL" clId="{3D1ED20F-48AD-485E-B132-4355CCA9B1DB}" dt="2022-05-06T09:41:00.036" v="1657" actId="21"/>
          <ac:spMkLst>
            <pc:docMk/>
            <pc:sldMk cId="3739919665" sldId="409"/>
            <ac:spMk id="445459" creationId="{00000000-0000-0000-0000-000000000000}"/>
          </ac:spMkLst>
        </pc:spChg>
        <pc:spChg chg="del mod">
          <ac:chgData name="Geoff Bennett" userId="18e2b201-f278-4657-aca6-41509691b92d" providerId="ADAL" clId="{3D1ED20F-48AD-485E-B132-4355CCA9B1DB}" dt="2022-05-06T09:41:00.036" v="1657" actId="21"/>
          <ac:spMkLst>
            <pc:docMk/>
            <pc:sldMk cId="3739919665" sldId="409"/>
            <ac:spMk id="445460" creationId="{00000000-0000-0000-0000-000000000000}"/>
          </ac:spMkLst>
        </pc:spChg>
        <pc:spChg chg="mod">
          <ac:chgData name="Geoff Bennett" userId="18e2b201-f278-4657-aca6-41509691b92d" providerId="ADAL" clId="{3D1ED20F-48AD-485E-B132-4355CCA9B1DB}" dt="2022-05-10T08:03:52.723" v="8975" actId="403"/>
          <ac:spMkLst>
            <pc:docMk/>
            <pc:sldMk cId="3739919665" sldId="409"/>
            <ac:spMk id="445461" creationId="{00000000-0000-0000-0000-000000000000}"/>
          </ac:spMkLst>
        </pc:spChg>
        <pc:grpChg chg="add mod">
          <ac:chgData name="Geoff Bennett" userId="18e2b201-f278-4657-aca6-41509691b92d" providerId="ADAL" clId="{3D1ED20F-48AD-485E-B132-4355CCA9B1DB}" dt="2022-05-06T10:50:06.880" v="1761" actId="164"/>
          <ac:grpSpMkLst>
            <pc:docMk/>
            <pc:sldMk cId="3739919665" sldId="409"/>
            <ac:grpSpMk id="6" creationId="{24322039-62B2-4F49-A5CE-D6B5C5C51298}"/>
          </ac:grpSpMkLst>
        </pc:grpChg>
        <pc:grpChg chg="add mod">
          <ac:chgData name="Geoff Bennett" userId="18e2b201-f278-4657-aca6-41509691b92d" providerId="ADAL" clId="{3D1ED20F-48AD-485E-B132-4355CCA9B1DB}" dt="2022-05-06T10:49:11.151" v="1757" actId="164"/>
          <ac:grpSpMkLst>
            <pc:docMk/>
            <pc:sldMk cId="3739919665" sldId="409"/>
            <ac:grpSpMk id="7" creationId="{3F3DEC61-0452-47D2-8E2F-C885CDC80EC3}"/>
          </ac:grpSpMkLst>
        </pc:grpChg>
        <pc:grpChg chg="add mod">
          <ac:chgData name="Geoff Bennett" userId="18e2b201-f278-4657-aca6-41509691b92d" providerId="ADAL" clId="{3D1ED20F-48AD-485E-B132-4355CCA9B1DB}" dt="2022-05-06T10:50:06.880" v="1761" actId="164"/>
          <ac:grpSpMkLst>
            <pc:docMk/>
            <pc:sldMk cId="3739919665" sldId="409"/>
            <ac:grpSpMk id="8" creationId="{6BBACFBD-872A-46E8-8E43-DDC0924A57E7}"/>
          </ac:grpSpMkLst>
        </pc:grpChg>
        <pc:grpChg chg="add mod">
          <ac:chgData name="Geoff Bennett" userId="18e2b201-f278-4657-aca6-41509691b92d" providerId="ADAL" clId="{3D1ED20F-48AD-485E-B132-4355CCA9B1DB}" dt="2022-09-18T14:33:05.783" v="11667" actId="164"/>
          <ac:grpSpMkLst>
            <pc:docMk/>
            <pc:sldMk cId="3739919665" sldId="409"/>
            <ac:grpSpMk id="10" creationId="{BFB2DF3F-44DB-1B97-5686-D32A1546EE0B}"/>
          </ac:grpSpMkLst>
        </pc:grpChg>
        <pc:grpChg chg="mod">
          <ac:chgData name="Geoff Bennett" userId="18e2b201-f278-4657-aca6-41509691b92d" providerId="ADAL" clId="{3D1ED20F-48AD-485E-B132-4355CCA9B1DB}" dt="2022-05-06T09:22:49.417" v="1433" actId="403"/>
          <ac:grpSpMkLst>
            <pc:docMk/>
            <pc:sldMk cId="3739919665" sldId="409"/>
            <ac:grpSpMk id="445446" creationId="{00000000-0000-0000-0000-000000000000}"/>
          </ac:grpSpMkLst>
        </pc:grpChg>
        <pc:grpChg chg="mod">
          <ac:chgData name="Geoff Bennett" userId="18e2b201-f278-4657-aca6-41509691b92d" providerId="ADAL" clId="{3D1ED20F-48AD-485E-B132-4355CCA9B1DB}" dt="2022-05-06T09:22:49.417" v="1433" actId="403"/>
          <ac:grpSpMkLst>
            <pc:docMk/>
            <pc:sldMk cId="3739919665" sldId="409"/>
            <ac:grpSpMk id="445447" creationId="{00000000-0000-0000-0000-000000000000}"/>
          </ac:grpSpMkLst>
        </pc:grpChg>
        <pc:grpChg chg="mod">
          <ac:chgData name="Geoff Bennett" userId="18e2b201-f278-4657-aca6-41509691b92d" providerId="ADAL" clId="{3D1ED20F-48AD-485E-B132-4355CCA9B1DB}" dt="2022-05-06T09:41:00.036" v="1657" actId="21"/>
          <ac:grpSpMkLst>
            <pc:docMk/>
            <pc:sldMk cId="3739919665" sldId="409"/>
            <ac:grpSpMk id="445453" creationId="{00000000-0000-0000-0000-000000000000}"/>
          </ac:grpSpMkLst>
        </pc:grpChg>
        <pc:picChg chg="del">
          <ac:chgData name="Geoff Bennett" userId="18e2b201-f278-4657-aca6-41509691b92d" providerId="ADAL" clId="{3D1ED20F-48AD-485E-B132-4355CCA9B1DB}" dt="2022-05-06T09:21:47.887" v="1423" actId="478"/>
          <ac:picMkLst>
            <pc:docMk/>
            <pc:sldMk cId="3739919665" sldId="409"/>
            <ac:picMk id="24" creationId="{00000000-0000-0000-0000-000000000000}"/>
          </ac:picMkLst>
        </pc:picChg>
        <pc:cxnChg chg="add mod">
          <ac:chgData name="Geoff Bennett" userId="18e2b201-f278-4657-aca6-41509691b92d" providerId="ADAL" clId="{3D1ED20F-48AD-485E-B132-4355CCA9B1DB}" dt="2022-05-06T10:49:11.151" v="1757" actId="164"/>
          <ac:cxnSpMkLst>
            <pc:docMk/>
            <pc:sldMk cId="3739919665" sldId="409"/>
            <ac:cxnSpMk id="5" creationId="{6ECF357E-F28F-4E40-8860-C96238E3B86A}"/>
          </ac:cxnSpMkLst>
        </pc:cxnChg>
      </pc:sldChg>
      <pc:sldChg chg="modSp add mod modTransition modAnim">
        <pc:chgData name="Geoff Bennett" userId="18e2b201-f278-4657-aca6-41509691b92d" providerId="ADAL" clId="{3D1ED20F-48AD-485E-B132-4355CCA9B1DB}" dt="2022-09-18T14:32:21.673" v="11666"/>
        <pc:sldMkLst>
          <pc:docMk/>
          <pc:sldMk cId="3623258802" sldId="489"/>
        </pc:sldMkLst>
        <pc:spChg chg="mod">
          <ac:chgData name="Geoff Bennett" userId="18e2b201-f278-4657-aca6-41509691b92d" providerId="ADAL" clId="{3D1ED20F-48AD-485E-B132-4355CCA9B1DB}" dt="2022-05-10T08:01:35.985" v="8795" actId="20577"/>
          <ac:spMkLst>
            <pc:docMk/>
            <pc:sldMk cId="3623258802" sldId="489"/>
            <ac:spMk id="2" creationId="{0D51BC1D-C036-4735-8EB5-6F75D73C3B1D}"/>
          </ac:spMkLst>
        </pc:spChg>
        <pc:spChg chg="mod">
          <ac:chgData name="Geoff Bennett" userId="18e2b201-f278-4657-aca6-41509691b92d" providerId="ADAL" clId="{3D1ED20F-48AD-485E-B132-4355CCA9B1DB}" dt="2022-05-10T08:02:37.684" v="8909" actId="207"/>
          <ac:spMkLst>
            <pc:docMk/>
            <pc:sldMk cId="3623258802" sldId="489"/>
            <ac:spMk id="6" creationId="{3CF37C3F-7018-4A78-99DE-5F5B6E1075C9}"/>
          </ac:spMkLst>
        </pc:spChg>
      </pc:sldChg>
      <pc:sldChg chg="modSp mod ord modTransition">
        <pc:chgData name="Geoff Bennett" userId="18e2b201-f278-4657-aca6-41509691b92d" providerId="ADAL" clId="{3D1ED20F-48AD-485E-B132-4355CCA9B1DB}" dt="2022-09-18T14:52:48.321" v="12195"/>
        <pc:sldMkLst>
          <pc:docMk/>
          <pc:sldMk cId="97768607" sldId="2076138510"/>
        </pc:sldMkLst>
        <pc:spChg chg="mod">
          <ac:chgData name="Geoff Bennett" userId="18e2b201-f278-4657-aca6-41509691b92d" providerId="ADAL" clId="{3D1ED20F-48AD-485E-B132-4355CCA9B1DB}" dt="2022-09-18T14:35:45.911" v="11735" actId="207"/>
          <ac:spMkLst>
            <pc:docMk/>
            <pc:sldMk cId="97768607" sldId="2076138510"/>
            <ac:spMk id="2" creationId="{73C09D61-2EFF-4EC5-9BA2-5C20731B03EB}"/>
          </ac:spMkLst>
        </pc:spChg>
      </pc:sldChg>
      <pc:sldChg chg="del modTransition">
        <pc:chgData name="Geoff Bennett" userId="18e2b201-f278-4657-aca6-41509691b92d" providerId="ADAL" clId="{3D1ED20F-48AD-485E-B132-4355CCA9B1DB}" dt="2022-05-06T12:18:09.086" v="3379" actId="47"/>
        <pc:sldMkLst>
          <pc:docMk/>
          <pc:sldMk cId="1026680325" sldId="2145706619"/>
        </pc:sldMkLst>
      </pc:sldChg>
      <pc:sldChg chg="del modTransition">
        <pc:chgData name="Geoff Bennett" userId="18e2b201-f278-4657-aca6-41509691b92d" providerId="ADAL" clId="{3D1ED20F-48AD-485E-B132-4355CCA9B1DB}" dt="2022-05-06T13:15:59.476" v="4644" actId="47"/>
        <pc:sldMkLst>
          <pc:docMk/>
          <pc:sldMk cId="1474674417" sldId="2145706620"/>
        </pc:sldMkLst>
      </pc:sldChg>
      <pc:sldChg chg="addSp delSp modSp mod ord modTransition modAnim">
        <pc:chgData name="Geoff Bennett" userId="18e2b201-f278-4657-aca6-41509691b92d" providerId="ADAL" clId="{3D1ED20F-48AD-485E-B132-4355CCA9B1DB}" dt="2022-09-18T14:44:12.867" v="12153" actId="478"/>
        <pc:sldMkLst>
          <pc:docMk/>
          <pc:sldMk cId="1029619126" sldId="2145706621"/>
        </pc:sldMkLst>
        <pc:spChg chg="mod">
          <ac:chgData name="Geoff Bennett" userId="18e2b201-f278-4657-aca6-41509691b92d" providerId="ADAL" clId="{3D1ED20F-48AD-485E-B132-4355CCA9B1DB}" dt="2022-07-12T07:19:52.806" v="9928" actId="207"/>
          <ac:spMkLst>
            <pc:docMk/>
            <pc:sldMk cId="1029619126" sldId="2145706621"/>
            <ac:spMk id="2" creationId="{DE5E0F72-9003-4C72-BC3B-21B5139C841D}"/>
          </ac:spMkLst>
        </pc:spChg>
        <pc:spChg chg="del">
          <ac:chgData name="Geoff Bennett" userId="18e2b201-f278-4657-aca6-41509691b92d" providerId="ADAL" clId="{3D1ED20F-48AD-485E-B132-4355CCA9B1DB}" dt="2022-09-18T14:44:12.867" v="12153" actId="478"/>
          <ac:spMkLst>
            <pc:docMk/>
            <pc:sldMk cId="1029619126" sldId="2145706621"/>
            <ac:spMk id="4" creationId="{AE6E4C6D-F7DA-4AED-A6B8-5CBAD9C48C3E}"/>
          </ac:spMkLst>
        </pc:spChg>
        <pc:spChg chg="mod">
          <ac:chgData name="Geoff Bennett" userId="18e2b201-f278-4657-aca6-41509691b92d" providerId="ADAL" clId="{3D1ED20F-48AD-485E-B132-4355CCA9B1DB}" dt="2022-05-06T12:49:20.396" v="4106" actId="164"/>
          <ac:spMkLst>
            <pc:docMk/>
            <pc:sldMk cId="1029619126" sldId="2145706621"/>
            <ac:spMk id="8" creationId="{6357C8EF-59D9-4E50-845B-1196BF724799}"/>
          </ac:spMkLst>
        </pc:spChg>
        <pc:spChg chg="mod">
          <ac:chgData name="Geoff Bennett" userId="18e2b201-f278-4657-aca6-41509691b92d" providerId="ADAL" clId="{3D1ED20F-48AD-485E-B132-4355CCA9B1DB}" dt="2022-05-06T12:51:03.874" v="4151" actId="164"/>
          <ac:spMkLst>
            <pc:docMk/>
            <pc:sldMk cId="1029619126" sldId="2145706621"/>
            <ac:spMk id="9" creationId="{21FA0D6D-0EF3-4EE6-B80F-113672D391AC}"/>
          </ac:spMkLst>
        </pc:spChg>
        <pc:spChg chg="mod">
          <ac:chgData name="Geoff Bennett" userId="18e2b201-f278-4657-aca6-41509691b92d" providerId="ADAL" clId="{3D1ED20F-48AD-485E-B132-4355CCA9B1DB}" dt="2022-05-06T12:51:20.699" v="4155" actId="164"/>
          <ac:spMkLst>
            <pc:docMk/>
            <pc:sldMk cId="1029619126" sldId="2145706621"/>
            <ac:spMk id="15" creationId="{C8C96A36-A1C5-4FE9-9D89-C6EE5EABC6D7}"/>
          </ac:spMkLst>
        </pc:spChg>
        <pc:spChg chg="mod">
          <ac:chgData name="Geoff Bennett" userId="18e2b201-f278-4657-aca6-41509691b92d" providerId="ADAL" clId="{3D1ED20F-48AD-485E-B132-4355CCA9B1DB}" dt="2022-05-06T12:51:20.699" v="4155" actId="164"/>
          <ac:spMkLst>
            <pc:docMk/>
            <pc:sldMk cId="1029619126" sldId="2145706621"/>
            <ac:spMk id="16" creationId="{63B73D14-2F9E-440F-A7C9-719196627152}"/>
          </ac:spMkLst>
        </pc:spChg>
        <pc:spChg chg="add mod">
          <ac:chgData name="Geoff Bennett" userId="18e2b201-f278-4657-aca6-41509691b92d" providerId="ADAL" clId="{3D1ED20F-48AD-485E-B132-4355CCA9B1DB}" dt="2022-05-06T12:50:03.962" v="4125" actId="1036"/>
          <ac:spMkLst>
            <pc:docMk/>
            <pc:sldMk cId="1029619126" sldId="2145706621"/>
            <ac:spMk id="19" creationId="{F702DC0A-4C25-4564-9A15-40EB3AA7D834}"/>
          </ac:spMkLst>
        </pc:spChg>
        <pc:spChg chg="add mod">
          <ac:chgData name="Geoff Bennett" userId="18e2b201-f278-4657-aca6-41509691b92d" providerId="ADAL" clId="{3D1ED20F-48AD-485E-B132-4355CCA9B1DB}" dt="2022-05-06T12:50:23.496" v="4145" actId="1037"/>
          <ac:spMkLst>
            <pc:docMk/>
            <pc:sldMk cId="1029619126" sldId="2145706621"/>
            <ac:spMk id="20" creationId="{DA012432-E93D-489E-881C-BADA62C70A10}"/>
          </ac:spMkLst>
        </pc:spChg>
        <pc:spChg chg="add mod">
          <ac:chgData name="Geoff Bennett" userId="18e2b201-f278-4657-aca6-41509691b92d" providerId="ADAL" clId="{3D1ED20F-48AD-485E-B132-4355CCA9B1DB}" dt="2022-05-06T12:51:41.361" v="4178" actId="1037"/>
          <ac:spMkLst>
            <pc:docMk/>
            <pc:sldMk cId="1029619126" sldId="2145706621"/>
            <ac:spMk id="23" creationId="{6A9A7B82-BD07-4238-815F-F5B185E57AF4}"/>
          </ac:spMkLst>
        </pc:spChg>
        <pc:grpChg chg="add mod">
          <ac:chgData name="Geoff Bennett" userId="18e2b201-f278-4657-aca6-41509691b92d" providerId="ADAL" clId="{3D1ED20F-48AD-485E-B132-4355CCA9B1DB}" dt="2022-05-06T12:49:20.396" v="4106" actId="164"/>
          <ac:grpSpMkLst>
            <pc:docMk/>
            <pc:sldMk cId="1029619126" sldId="2145706621"/>
            <ac:grpSpMk id="18" creationId="{1B1EF3E4-BA6D-4DAF-8B1D-7E8A4EFE1F5F}"/>
          </ac:grpSpMkLst>
        </pc:grpChg>
        <pc:grpChg chg="add mod">
          <ac:chgData name="Geoff Bennett" userId="18e2b201-f278-4657-aca6-41509691b92d" providerId="ADAL" clId="{3D1ED20F-48AD-485E-B132-4355CCA9B1DB}" dt="2022-05-06T12:51:03.874" v="4151" actId="164"/>
          <ac:grpSpMkLst>
            <pc:docMk/>
            <pc:sldMk cId="1029619126" sldId="2145706621"/>
            <ac:grpSpMk id="21" creationId="{AFEEF94C-5662-4980-8F25-596730F6800A}"/>
          </ac:grpSpMkLst>
        </pc:grpChg>
        <pc:grpChg chg="add mod">
          <ac:chgData name="Geoff Bennett" userId="18e2b201-f278-4657-aca6-41509691b92d" providerId="ADAL" clId="{3D1ED20F-48AD-485E-B132-4355CCA9B1DB}" dt="2022-05-06T12:51:20.699" v="4155" actId="164"/>
          <ac:grpSpMkLst>
            <pc:docMk/>
            <pc:sldMk cId="1029619126" sldId="2145706621"/>
            <ac:grpSpMk id="22" creationId="{BE5BDA17-21A5-48EA-A479-488E9091AFE3}"/>
          </ac:grpSpMkLst>
        </pc:grpChg>
        <pc:cxnChg chg="mod">
          <ac:chgData name="Geoff Bennett" userId="18e2b201-f278-4657-aca6-41509691b92d" providerId="ADAL" clId="{3D1ED20F-48AD-485E-B132-4355CCA9B1DB}" dt="2022-05-06T12:49:20.396" v="4106" actId="164"/>
          <ac:cxnSpMkLst>
            <pc:docMk/>
            <pc:sldMk cId="1029619126" sldId="2145706621"/>
            <ac:cxnSpMk id="11" creationId="{E133C270-3EEA-4582-9585-E5FC4C9582D3}"/>
          </ac:cxnSpMkLst>
        </pc:cxnChg>
        <pc:cxnChg chg="mod">
          <ac:chgData name="Geoff Bennett" userId="18e2b201-f278-4657-aca6-41509691b92d" providerId="ADAL" clId="{3D1ED20F-48AD-485E-B132-4355CCA9B1DB}" dt="2022-05-06T12:51:03.874" v="4151" actId="164"/>
          <ac:cxnSpMkLst>
            <pc:docMk/>
            <pc:sldMk cId="1029619126" sldId="2145706621"/>
            <ac:cxnSpMk id="12" creationId="{E745C8D9-03C5-4A02-864F-B175B868E180}"/>
          </ac:cxnSpMkLst>
        </pc:cxnChg>
      </pc:sldChg>
      <pc:sldChg chg="addSp delSp modSp mod ord modTransition modAnim">
        <pc:chgData name="Geoff Bennett" userId="18e2b201-f278-4657-aca6-41509691b92d" providerId="ADAL" clId="{3D1ED20F-48AD-485E-B132-4355CCA9B1DB}" dt="2022-09-18T14:44:15.172" v="12154" actId="478"/>
        <pc:sldMkLst>
          <pc:docMk/>
          <pc:sldMk cId="65145579" sldId="2145706623"/>
        </pc:sldMkLst>
        <pc:spChg chg="del">
          <ac:chgData name="Geoff Bennett" userId="18e2b201-f278-4657-aca6-41509691b92d" providerId="ADAL" clId="{3D1ED20F-48AD-485E-B132-4355CCA9B1DB}" dt="2022-09-18T14:44:15.172" v="12154" actId="478"/>
          <ac:spMkLst>
            <pc:docMk/>
            <pc:sldMk cId="65145579" sldId="2145706623"/>
            <ac:spMk id="4" creationId="{F30F7871-5ADB-42BB-A9B8-5BA538FD4C35}"/>
          </ac:spMkLst>
        </pc:spChg>
        <pc:spChg chg="mod">
          <ac:chgData name="Geoff Bennett" userId="18e2b201-f278-4657-aca6-41509691b92d" providerId="ADAL" clId="{3D1ED20F-48AD-485E-B132-4355CCA9B1DB}" dt="2022-05-06T13:16:09.866" v="4647" actId="164"/>
          <ac:spMkLst>
            <pc:docMk/>
            <pc:sldMk cId="65145579" sldId="2145706623"/>
            <ac:spMk id="8" creationId="{213F4B92-5478-4DA7-97F8-5768EC72D2B8}"/>
          </ac:spMkLst>
        </pc:spChg>
        <pc:spChg chg="mod">
          <ac:chgData name="Geoff Bennett" userId="18e2b201-f278-4657-aca6-41509691b92d" providerId="ADAL" clId="{3D1ED20F-48AD-485E-B132-4355CCA9B1DB}" dt="2022-05-06T13:16:26.454" v="4649" actId="164"/>
          <ac:spMkLst>
            <pc:docMk/>
            <pc:sldMk cId="65145579" sldId="2145706623"/>
            <ac:spMk id="9" creationId="{C20DD5F6-A995-4515-8539-B5BE630EE6E2}"/>
          </ac:spMkLst>
        </pc:spChg>
        <pc:spChg chg="mod">
          <ac:chgData name="Geoff Bennett" userId="18e2b201-f278-4657-aca6-41509691b92d" providerId="ADAL" clId="{3D1ED20F-48AD-485E-B132-4355CCA9B1DB}" dt="2022-05-06T13:16:26.454" v="4649" actId="164"/>
          <ac:spMkLst>
            <pc:docMk/>
            <pc:sldMk cId="65145579" sldId="2145706623"/>
            <ac:spMk id="10" creationId="{0B0B3FE0-9F27-4EF9-889A-6829BB97554C}"/>
          </ac:spMkLst>
        </pc:spChg>
        <pc:spChg chg="mod">
          <ac:chgData name="Geoff Bennett" userId="18e2b201-f278-4657-aca6-41509691b92d" providerId="ADAL" clId="{3D1ED20F-48AD-485E-B132-4355CCA9B1DB}" dt="2022-05-06T13:16:14.903" v="4648" actId="164"/>
          <ac:spMkLst>
            <pc:docMk/>
            <pc:sldMk cId="65145579" sldId="2145706623"/>
            <ac:spMk id="11" creationId="{62DA1BBF-3800-485E-9092-4175CAAD8D63}"/>
          </ac:spMkLst>
        </pc:spChg>
        <pc:grpChg chg="add mod">
          <ac:chgData name="Geoff Bennett" userId="18e2b201-f278-4657-aca6-41509691b92d" providerId="ADAL" clId="{3D1ED20F-48AD-485E-B132-4355CCA9B1DB}" dt="2022-05-06T13:16:09.866" v="4647" actId="164"/>
          <ac:grpSpMkLst>
            <pc:docMk/>
            <pc:sldMk cId="65145579" sldId="2145706623"/>
            <ac:grpSpMk id="15" creationId="{9271C567-4DCC-4549-8669-F8CB85F7CBAA}"/>
          </ac:grpSpMkLst>
        </pc:grpChg>
        <pc:grpChg chg="add mod">
          <ac:chgData name="Geoff Bennett" userId="18e2b201-f278-4657-aca6-41509691b92d" providerId="ADAL" clId="{3D1ED20F-48AD-485E-B132-4355CCA9B1DB}" dt="2022-05-06T13:16:14.903" v="4648" actId="164"/>
          <ac:grpSpMkLst>
            <pc:docMk/>
            <pc:sldMk cId="65145579" sldId="2145706623"/>
            <ac:grpSpMk id="16" creationId="{CAB426BE-5031-4E3A-860D-AED7C47832C7}"/>
          </ac:grpSpMkLst>
        </pc:grpChg>
        <pc:grpChg chg="add mod">
          <ac:chgData name="Geoff Bennett" userId="18e2b201-f278-4657-aca6-41509691b92d" providerId="ADAL" clId="{3D1ED20F-48AD-485E-B132-4355CCA9B1DB}" dt="2022-05-06T13:16:26.454" v="4649" actId="164"/>
          <ac:grpSpMkLst>
            <pc:docMk/>
            <pc:sldMk cId="65145579" sldId="2145706623"/>
            <ac:grpSpMk id="17" creationId="{DA60B7A7-241E-4D06-B92F-3E5D482B6E63}"/>
          </ac:grpSpMkLst>
        </pc:grpChg>
        <pc:picChg chg="mod">
          <ac:chgData name="Geoff Bennett" userId="18e2b201-f278-4657-aca6-41509691b92d" providerId="ADAL" clId="{3D1ED20F-48AD-485E-B132-4355CCA9B1DB}" dt="2022-05-06T13:16:09.866" v="4647" actId="164"/>
          <ac:picMkLst>
            <pc:docMk/>
            <pc:sldMk cId="65145579" sldId="2145706623"/>
            <ac:picMk id="6" creationId="{0F27A38D-DD5C-492C-A7B1-F7AE3A04B52F}"/>
          </ac:picMkLst>
        </pc:picChg>
        <pc:picChg chg="mod">
          <ac:chgData name="Geoff Bennett" userId="18e2b201-f278-4657-aca6-41509691b92d" providerId="ADAL" clId="{3D1ED20F-48AD-485E-B132-4355CCA9B1DB}" dt="2022-05-06T13:16:26.454" v="4649" actId="164"/>
          <ac:picMkLst>
            <pc:docMk/>
            <pc:sldMk cId="65145579" sldId="2145706623"/>
            <ac:picMk id="7" creationId="{D60C2366-1AF2-40D9-8121-38ED24041221}"/>
          </ac:picMkLst>
        </pc:picChg>
        <pc:picChg chg="mod">
          <ac:chgData name="Geoff Bennett" userId="18e2b201-f278-4657-aca6-41509691b92d" providerId="ADAL" clId="{3D1ED20F-48AD-485E-B132-4355CCA9B1DB}" dt="2022-05-06T13:16:14.903" v="4648" actId="164"/>
          <ac:picMkLst>
            <pc:docMk/>
            <pc:sldMk cId="65145579" sldId="2145706623"/>
            <ac:picMk id="12" creationId="{87C9E23B-0BAE-43DE-9178-56F943BFD0AB}"/>
          </ac:picMkLst>
        </pc:picChg>
        <pc:picChg chg="mod">
          <ac:chgData name="Geoff Bennett" userId="18e2b201-f278-4657-aca6-41509691b92d" providerId="ADAL" clId="{3D1ED20F-48AD-485E-B132-4355CCA9B1DB}" dt="2022-05-06T13:16:09.866" v="4647" actId="164"/>
          <ac:picMkLst>
            <pc:docMk/>
            <pc:sldMk cId="65145579" sldId="2145706623"/>
            <ac:picMk id="13" creationId="{555B71E5-2E46-4C2F-B027-F9A20FD03860}"/>
          </ac:picMkLst>
        </pc:picChg>
        <pc:picChg chg="mod">
          <ac:chgData name="Geoff Bennett" userId="18e2b201-f278-4657-aca6-41509691b92d" providerId="ADAL" clId="{3D1ED20F-48AD-485E-B132-4355CCA9B1DB}" dt="2022-05-06T13:16:26.454" v="4649" actId="164"/>
          <ac:picMkLst>
            <pc:docMk/>
            <pc:sldMk cId="65145579" sldId="2145706623"/>
            <ac:picMk id="14" creationId="{BAE5DEED-A315-477F-ABC7-11F45BC80CCE}"/>
          </ac:picMkLst>
        </pc:picChg>
      </pc:sldChg>
      <pc:sldChg chg="addSp delSp modSp new mod modTransition modAnim">
        <pc:chgData name="Geoff Bennett" userId="18e2b201-f278-4657-aca6-41509691b92d" providerId="ADAL" clId="{3D1ED20F-48AD-485E-B132-4355CCA9B1DB}" dt="2022-09-18T14:44:19.127" v="12155" actId="478"/>
        <pc:sldMkLst>
          <pc:docMk/>
          <pc:sldMk cId="1762473488" sldId="2145706624"/>
        </pc:sldMkLst>
        <pc:spChg chg="mod">
          <ac:chgData name="Geoff Bennett" userId="18e2b201-f278-4657-aca6-41509691b92d" providerId="ADAL" clId="{3D1ED20F-48AD-485E-B132-4355CCA9B1DB}" dt="2022-05-06T07:24:16.090" v="101" actId="20577"/>
          <ac:spMkLst>
            <pc:docMk/>
            <pc:sldMk cId="1762473488" sldId="2145706624"/>
            <ac:spMk id="2" creationId="{24321BAC-8A7F-498D-897D-3F55C40D6D7A}"/>
          </ac:spMkLst>
        </pc:spChg>
        <pc:spChg chg="del">
          <ac:chgData name="Geoff Bennett" userId="18e2b201-f278-4657-aca6-41509691b92d" providerId="ADAL" clId="{3D1ED20F-48AD-485E-B132-4355CCA9B1DB}" dt="2022-05-06T07:21:40.954" v="1" actId="931"/>
          <ac:spMkLst>
            <pc:docMk/>
            <pc:sldMk cId="1762473488" sldId="2145706624"/>
            <ac:spMk id="3" creationId="{4D75CBA1-24BD-4BF2-B5DF-B854C0CC61EF}"/>
          </ac:spMkLst>
        </pc:spChg>
        <pc:spChg chg="del">
          <ac:chgData name="Geoff Bennett" userId="18e2b201-f278-4657-aca6-41509691b92d" providerId="ADAL" clId="{3D1ED20F-48AD-485E-B132-4355CCA9B1DB}" dt="2022-09-18T14:44:19.127" v="12155" actId="478"/>
          <ac:spMkLst>
            <pc:docMk/>
            <pc:sldMk cId="1762473488" sldId="2145706624"/>
            <ac:spMk id="4" creationId="{C55BEA13-09A5-43D5-B6C4-6074A2EA1E8F}"/>
          </ac:spMkLst>
        </pc:spChg>
        <pc:spChg chg="add mod">
          <ac:chgData name="Geoff Bennett" userId="18e2b201-f278-4657-aca6-41509691b92d" providerId="ADAL" clId="{3D1ED20F-48AD-485E-B132-4355CCA9B1DB}" dt="2022-09-18T14:36:31.220" v="11739" actId="164"/>
          <ac:spMkLst>
            <pc:docMk/>
            <pc:sldMk cId="1762473488" sldId="2145706624"/>
            <ac:spMk id="13" creationId="{149D0E4B-5AAC-491F-87D8-7EA6AC2F3DF0}"/>
          </ac:spMkLst>
        </pc:spChg>
        <pc:spChg chg="add mod">
          <ac:chgData name="Geoff Bennett" userId="18e2b201-f278-4657-aca6-41509691b92d" providerId="ADAL" clId="{3D1ED20F-48AD-485E-B132-4355CCA9B1DB}" dt="2022-09-18T14:36:31.220" v="11739" actId="164"/>
          <ac:spMkLst>
            <pc:docMk/>
            <pc:sldMk cId="1762473488" sldId="2145706624"/>
            <ac:spMk id="14" creationId="{876304A1-BD07-442C-8E69-ED1B13089439}"/>
          </ac:spMkLst>
        </pc:spChg>
        <pc:spChg chg="add mod">
          <ac:chgData name="Geoff Bennett" userId="18e2b201-f278-4657-aca6-41509691b92d" providerId="ADAL" clId="{3D1ED20F-48AD-485E-B132-4355CCA9B1DB}" dt="2022-09-18T14:36:31.220" v="11739" actId="164"/>
          <ac:spMkLst>
            <pc:docMk/>
            <pc:sldMk cId="1762473488" sldId="2145706624"/>
            <ac:spMk id="15" creationId="{624E1B66-0EC5-44A8-9E82-95CED0D3EA70}"/>
          </ac:spMkLst>
        </pc:spChg>
        <pc:spChg chg="add mod">
          <ac:chgData name="Geoff Bennett" userId="18e2b201-f278-4657-aca6-41509691b92d" providerId="ADAL" clId="{3D1ED20F-48AD-485E-B132-4355CCA9B1DB}" dt="2022-09-18T14:37:14.846" v="11744" actId="164"/>
          <ac:spMkLst>
            <pc:docMk/>
            <pc:sldMk cId="1762473488" sldId="2145706624"/>
            <ac:spMk id="16" creationId="{F5A609AC-425D-4F81-B462-D6C3104D9A9C}"/>
          </ac:spMkLst>
        </pc:spChg>
        <pc:spChg chg="add mod">
          <ac:chgData name="Geoff Bennett" userId="18e2b201-f278-4657-aca6-41509691b92d" providerId="ADAL" clId="{3D1ED20F-48AD-485E-B132-4355CCA9B1DB}" dt="2022-05-06T13:38:06.091" v="4765" actId="164"/>
          <ac:spMkLst>
            <pc:docMk/>
            <pc:sldMk cId="1762473488" sldId="2145706624"/>
            <ac:spMk id="20" creationId="{60126488-9575-4504-97EB-E0D4E7A1206D}"/>
          </ac:spMkLst>
        </pc:spChg>
        <pc:spChg chg="add mod">
          <ac:chgData name="Geoff Bennett" userId="18e2b201-f278-4657-aca6-41509691b92d" providerId="ADAL" clId="{3D1ED20F-48AD-485E-B132-4355CCA9B1DB}" dt="2022-05-06T13:38:06.091" v="4765" actId="164"/>
          <ac:spMkLst>
            <pc:docMk/>
            <pc:sldMk cId="1762473488" sldId="2145706624"/>
            <ac:spMk id="21" creationId="{AEB5EE86-6A19-4AC4-852E-0E60E516E4F6}"/>
          </ac:spMkLst>
        </pc:spChg>
        <pc:spChg chg="add mod">
          <ac:chgData name="Geoff Bennett" userId="18e2b201-f278-4657-aca6-41509691b92d" providerId="ADAL" clId="{3D1ED20F-48AD-485E-B132-4355CCA9B1DB}" dt="2022-05-06T13:38:06.091" v="4765" actId="164"/>
          <ac:spMkLst>
            <pc:docMk/>
            <pc:sldMk cId="1762473488" sldId="2145706624"/>
            <ac:spMk id="22" creationId="{7A10D739-E24F-4AD2-B709-B9B7ECF11FE6}"/>
          </ac:spMkLst>
        </pc:spChg>
        <pc:grpChg chg="add mod ord">
          <ac:chgData name="Geoff Bennett" userId="18e2b201-f278-4657-aca6-41509691b92d" providerId="ADAL" clId="{3D1ED20F-48AD-485E-B132-4355CCA9B1DB}" dt="2022-09-18T14:36:36.482" v="11740" actId="167"/>
          <ac:grpSpMkLst>
            <pc:docMk/>
            <pc:sldMk cId="1762473488" sldId="2145706624"/>
            <ac:grpSpMk id="3" creationId="{D4A87166-2B13-0018-07C1-2655A88A5018}"/>
          </ac:grpSpMkLst>
        </pc:grpChg>
        <pc:grpChg chg="add mod ord">
          <ac:chgData name="Geoff Bennett" userId="18e2b201-f278-4657-aca6-41509691b92d" providerId="ADAL" clId="{3D1ED20F-48AD-485E-B132-4355CCA9B1DB}" dt="2022-09-18T14:37:30.873" v="11747" actId="167"/>
          <ac:grpSpMkLst>
            <pc:docMk/>
            <pc:sldMk cId="1762473488" sldId="2145706624"/>
            <ac:grpSpMk id="5" creationId="{EE7518A7-5400-161C-2402-A37B79B47669}"/>
          </ac:grpSpMkLst>
        </pc:grpChg>
        <pc:grpChg chg="add mod">
          <ac:chgData name="Geoff Bennett" userId="18e2b201-f278-4657-aca6-41509691b92d" providerId="ADAL" clId="{3D1ED20F-48AD-485E-B132-4355CCA9B1DB}" dt="2022-05-06T13:38:06.091" v="4765" actId="164"/>
          <ac:grpSpMkLst>
            <pc:docMk/>
            <pc:sldMk cId="1762473488" sldId="2145706624"/>
            <ac:grpSpMk id="28" creationId="{A7943566-1C87-44ED-B018-F0D7C1D6C8AB}"/>
          </ac:grpSpMkLst>
        </pc:grpChg>
        <pc:picChg chg="add mod ord modCrop">
          <ac:chgData name="Geoff Bennett" userId="18e2b201-f278-4657-aca6-41509691b92d" providerId="ADAL" clId="{3D1ED20F-48AD-485E-B132-4355CCA9B1DB}" dt="2022-05-06T07:23:00.701" v="47" actId="1440"/>
          <ac:picMkLst>
            <pc:docMk/>
            <pc:sldMk cId="1762473488" sldId="2145706624"/>
            <ac:picMk id="6" creationId="{8FCFED54-5BC0-45A5-9161-F2B11CFD2CB5}"/>
          </ac:picMkLst>
        </pc:picChg>
        <pc:picChg chg="add mod">
          <ac:chgData name="Geoff Bennett" userId="18e2b201-f278-4657-aca6-41509691b92d" providerId="ADAL" clId="{3D1ED20F-48AD-485E-B132-4355CCA9B1DB}" dt="2022-09-18T14:36:31.220" v="11739" actId="164"/>
          <ac:picMkLst>
            <pc:docMk/>
            <pc:sldMk cId="1762473488" sldId="2145706624"/>
            <ac:picMk id="8" creationId="{724CA6D6-2A14-416A-8A31-49DE9CC354C1}"/>
          </ac:picMkLst>
        </pc:picChg>
        <pc:picChg chg="add mod ord modCrop">
          <ac:chgData name="Geoff Bennett" userId="18e2b201-f278-4657-aca6-41509691b92d" providerId="ADAL" clId="{3D1ED20F-48AD-485E-B132-4355CCA9B1DB}" dt="2022-05-06T07:23:43.953" v="62" actId="1038"/>
          <ac:picMkLst>
            <pc:docMk/>
            <pc:sldMk cId="1762473488" sldId="2145706624"/>
            <ac:picMk id="10" creationId="{40653385-6B87-4840-968B-FBBA1D3C8EE0}"/>
          </ac:picMkLst>
        </pc:picChg>
        <pc:picChg chg="add mod">
          <ac:chgData name="Geoff Bennett" userId="18e2b201-f278-4657-aca6-41509691b92d" providerId="ADAL" clId="{3D1ED20F-48AD-485E-B132-4355CCA9B1DB}" dt="2022-09-18T14:37:14.846" v="11744" actId="164"/>
          <ac:picMkLst>
            <pc:docMk/>
            <pc:sldMk cId="1762473488" sldId="2145706624"/>
            <ac:picMk id="12" creationId="{6E65DE49-F933-4055-B96B-EBC39E7E43D8}"/>
          </ac:picMkLst>
        </pc:picChg>
        <pc:cxnChg chg="add mod">
          <ac:chgData name="Geoff Bennett" userId="18e2b201-f278-4657-aca6-41509691b92d" providerId="ADAL" clId="{3D1ED20F-48AD-485E-B132-4355CCA9B1DB}" dt="2022-05-06T13:38:06.091" v="4765" actId="164"/>
          <ac:cxnSpMkLst>
            <pc:docMk/>
            <pc:sldMk cId="1762473488" sldId="2145706624"/>
            <ac:cxnSpMk id="18" creationId="{0CF00474-CF64-4315-A63C-BAFBD38B1F30}"/>
          </ac:cxnSpMkLst>
        </pc:cxnChg>
        <pc:cxnChg chg="add mod">
          <ac:chgData name="Geoff Bennett" userId="18e2b201-f278-4657-aca6-41509691b92d" providerId="ADAL" clId="{3D1ED20F-48AD-485E-B132-4355CCA9B1DB}" dt="2022-05-06T13:38:06.091" v="4765" actId="164"/>
          <ac:cxnSpMkLst>
            <pc:docMk/>
            <pc:sldMk cId="1762473488" sldId="2145706624"/>
            <ac:cxnSpMk id="23" creationId="{8DFB0829-01F7-40C3-A4DD-5F95003A692C}"/>
          </ac:cxnSpMkLst>
        </pc:cxnChg>
        <pc:cxnChg chg="add mod">
          <ac:chgData name="Geoff Bennett" userId="18e2b201-f278-4657-aca6-41509691b92d" providerId="ADAL" clId="{3D1ED20F-48AD-485E-B132-4355CCA9B1DB}" dt="2022-05-06T13:38:06.091" v="4765" actId="164"/>
          <ac:cxnSpMkLst>
            <pc:docMk/>
            <pc:sldMk cId="1762473488" sldId="2145706624"/>
            <ac:cxnSpMk id="25" creationId="{478A4BB5-769E-458C-BCDB-B8CB2104C32B}"/>
          </ac:cxnSpMkLst>
        </pc:cxnChg>
      </pc:sldChg>
      <pc:sldChg chg="addSp delSp modSp new mod modTransition modAnim">
        <pc:chgData name="Geoff Bennett" userId="18e2b201-f278-4657-aca6-41509691b92d" providerId="ADAL" clId="{3D1ED20F-48AD-485E-B132-4355CCA9B1DB}" dt="2022-09-18T14:44:22.277" v="12156" actId="478"/>
        <pc:sldMkLst>
          <pc:docMk/>
          <pc:sldMk cId="3337087166" sldId="2145706625"/>
        </pc:sldMkLst>
        <pc:spChg chg="mod">
          <ac:chgData name="Geoff Bennett" userId="18e2b201-f278-4657-aca6-41509691b92d" providerId="ADAL" clId="{3D1ED20F-48AD-485E-B132-4355CCA9B1DB}" dt="2022-05-06T14:44:38.568" v="6683" actId="20577"/>
          <ac:spMkLst>
            <pc:docMk/>
            <pc:sldMk cId="3337087166" sldId="2145706625"/>
            <ac:spMk id="2" creationId="{744FAC87-3BD4-4A6B-A15E-BB2E94E4FE18}"/>
          </ac:spMkLst>
        </pc:spChg>
        <pc:spChg chg="del">
          <ac:chgData name="Geoff Bennett" userId="18e2b201-f278-4657-aca6-41509691b92d" providerId="ADAL" clId="{3D1ED20F-48AD-485E-B132-4355CCA9B1DB}" dt="2022-05-06T07:40:46.047" v="272" actId="478"/>
          <ac:spMkLst>
            <pc:docMk/>
            <pc:sldMk cId="3337087166" sldId="2145706625"/>
            <ac:spMk id="3" creationId="{BA323A87-2314-4272-AD5D-3B5491D6C437}"/>
          </ac:spMkLst>
        </pc:spChg>
        <pc:spChg chg="del">
          <ac:chgData name="Geoff Bennett" userId="18e2b201-f278-4657-aca6-41509691b92d" providerId="ADAL" clId="{3D1ED20F-48AD-485E-B132-4355CCA9B1DB}" dt="2022-09-18T14:44:22.277" v="12156" actId="478"/>
          <ac:spMkLst>
            <pc:docMk/>
            <pc:sldMk cId="3337087166" sldId="2145706625"/>
            <ac:spMk id="4" creationId="{3D0563F9-7146-4346-A428-26E9ECC02DBB}"/>
          </ac:spMkLst>
        </pc:spChg>
        <pc:spChg chg="add del mod">
          <ac:chgData name="Geoff Bennett" userId="18e2b201-f278-4657-aca6-41509691b92d" providerId="ADAL" clId="{3D1ED20F-48AD-485E-B132-4355CCA9B1DB}" dt="2022-05-06T13:40:38.342" v="4789" actId="478"/>
          <ac:spMkLst>
            <pc:docMk/>
            <pc:sldMk cId="3337087166" sldId="2145706625"/>
            <ac:spMk id="5" creationId="{3EBDDCA3-4BCD-4892-B425-905DE59BB2A2}"/>
          </ac:spMkLst>
        </pc:spChg>
        <pc:spChg chg="add del mod">
          <ac:chgData name="Geoff Bennett" userId="18e2b201-f278-4657-aca6-41509691b92d" providerId="ADAL" clId="{3D1ED20F-48AD-485E-B132-4355CCA9B1DB}" dt="2022-05-06T13:40:38.342" v="4789" actId="478"/>
          <ac:spMkLst>
            <pc:docMk/>
            <pc:sldMk cId="3337087166" sldId="2145706625"/>
            <ac:spMk id="6" creationId="{49E250F6-F2B5-4D6B-8BC7-275CBBB8BD5B}"/>
          </ac:spMkLst>
        </pc:spChg>
        <pc:spChg chg="add del mod">
          <ac:chgData name="Geoff Bennett" userId="18e2b201-f278-4657-aca6-41509691b92d" providerId="ADAL" clId="{3D1ED20F-48AD-485E-B132-4355CCA9B1DB}" dt="2022-05-06T13:40:38.342" v="4789" actId="478"/>
          <ac:spMkLst>
            <pc:docMk/>
            <pc:sldMk cId="3337087166" sldId="2145706625"/>
            <ac:spMk id="7" creationId="{D95ED712-41C5-4D11-B0DF-BB60D336B7BF}"/>
          </ac:spMkLst>
        </pc:spChg>
        <pc:spChg chg="add mod">
          <ac:chgData name="Geoff Bennett" userId="18e2b201-f278-4657-aca6-41509691b92d" providerId="ADAL" clId="{3D1ED20F-48AD-485E-B132-4355CCA9B1DB}" dt="2022-05-06T13:56:04.419" v="5280" actId="164"/>
          <ac:spMkLst>
            <pc:docMk/>
            <pc:sldMk cId="3337087166" sldId="2145706625"/>
            <ac:spMk id="11" creationId="{CCFCA65C-E2F8-4C78-858C-4346BE89638D}"/>
          </ac:spMkLst>
        </pc:spChg>
        <pc:spChg chg="add mod">
          <ac:chgData name="Geoff Bennett" userId="18e2b201-f278-4657-aca6-41509691b92d" providerId="ADAL" clId="{3D1ED20F-48AD-485E-B132-4355CCA9B1DB}" dt="2022-05-06T13:56:04.419" v="5280" actId="164"/>
          <ac:spMkLst>
            <pc:docMk/>
            <pc:sldMk cId="3337087166" sldId="2145706625"/>
            <ac:spMk id="12" creationId="{7B946236-2E93-410F-A004-8ADC1FE2B4D8}"/>
          </ac:spMkLst>
        </pc:spChg>
        <pc:spChg chg="add mod">
          <ac:chgData name="Geoff Bennett" userId="18e2b201-f278-4657-aca6-41509691b92d" providerId="ADAL" clId="{3D1ED20F-48AD-485E-B132-4355CCA9B1DB}" dt="2022-05-06T13:48:43.078" v="5208" actId="1037"/>
          <ac:spMkLst>
            <pc:docMk/>
            <pc:sldMk cId="3337087166" sldId="2145706625"/>
            <ac:spMk id="13" creationId="{E9BDB077-CF88-46C2-B77D-E188E098C17E}"/>
          </ac:spMkLst>
        </pc:spChg>
        <pc:spChg chg="add del mod">
          <ac:chgData name="Geoff Bennett" userId="18e2b201-f278-4657-aca6-41509691b92d" providerId="ADAL" clId="{3D1ED20F-48AD-485E-B132-4355CCA9B1DB}" dt="2022-05-06T13:42:39.870" v="4856" actId="478"/>
          <ac:spMkLst>
            <pc:docMk/>
            <pc:sldMk cId="3337087166" sldId="2145706625"/>
            <ac:spMk id="14" creationId="{08476FCD-BB43-4E05-AB2A-9F1B3F9CDB82}"/>
          </ac:spMkLst>
        </pc:spChg>
        <pc:spChg chg="add mod">
          <ac:chgData name="Geoff Bennett" userId="18e2b201-f278-4657-aca6-41509691b92d" providerId="ADAL" clId="{3D1ED20F-48AD-485E-B132-4355CCA9B1DB}" dt="2022-05-06T13:56:15.593" v="5282" actId="164"/>
          <ac:spMkLst>
            <pc:docMk/>
            <pc:sldMk cId="3337087166" sldId="2145706625"/>
            <ac:spMk id="15" creationId="{E6F83025-F1FE-4F71-8E6C-5B909B353A21}"/>
          </ac:spMkLst>
        </pc:spChg>
        <pc:spChg chg="add mod">
          <ac:chgData name="Geoff Bennett" userId="18e2b201-f278-4657-aca6-41509691b92d" providerId="ADAL" clId="{3D1ED20F-48AD-485E-B132-4355CCA9B1DB}" dt="2022-05-06T13:56:15.593" v="5282" actId="164"/>
          <ac:spMkLst>
            <pc:docMk/>
            <pc:sldMk cId="3337087166" sldId="2145706625"/>
            <ac:spMk id="16" creationId="{ABA0FEA7-C9F5-4DD0-A06C-E24477FC7D77}"/>
          </ac:spMkLst>
        </pc:spChg>
        <pc:spChg chg="add mod">
          <ac:chgData name="Geoff Bennett" userId="18e2b201-f278-4657-aca6-41509691b92d" providerId="ADAL" clId="{3D1ED20F-48AD-485E-B132-4355CCA9B1DB}" dt="2022-05-06T13:56:22.506" v="5284" actId="164"/>
          <ac:spMkLst>
            <pc:docMk/>
            <pc:sldMk cId="3337087166" sldId="2145706625"/>
            <ac:spMk id="17" creationId="{6A44E189-52D3-4ECF-A4C6-FCFDE7F9385C}"/>
          </ac:spMkLst>
        </pc:spChg>
        <pc:spChg chg="add mod">
          <ac:chgData name="Geoff Bennett" userId="18e2b201-f278-4657-aca6-41509691b92d" providerId="ADAL" clId="{3D1ED20F-48AD-485E-B132-4355CCA9B1DB}" dt="2022-05-06T13:56:22.506" v="5284" actId="164"/>
          <ac:spMkLst>
            <pc:docMk/>
            <pc:sldMk cId="3337087166" sldId="2145706625"/>
            <ac:spMk id="18" creationId="{DF29CEE0-A539-46DE-A04A-1C734DC7A0F4}"/>
          </ac:spMkLst>
        </pc:spChg>
        <pc:spChg chg="add mod">
          <ac:chgData name="Geoff Bennett" userId="18e2b201-f278-4657-aca6-41509691b92d" providerId="ADAL" clId="{3D1ED20F-48AD-485E-B132-4355CCA9B1DB}" dt="2022-05-06T13:56:50.490" v="5289" actId="164"/>
          <ac:spMkLst>
            <pc:docMk/>
            <pc:sldMk cId="3337087166" sldId="2145706625"/>
            <ac:spMk id="19" creationId="{E55E1609-98FA-4AF1-96B0-8AD721203ABE}"/>
          </ac:spMkLst>
        </pc:spChg>
        <pc:spChg chg="add mod">
          <ac:chgData name="Geoff Bennett" userId="18e2b201-f278-4657-aca6-41509691b92d" providerId="ADAL" clId="{3D1ED20F-48AD-485E-B132-4355CCA9B1DB}" dt="2022-05-06T13:56:50.490" v="5289" actId="164"/>
          <ac:spMkLst>
            <pc:docMk/>
            <pc:sldMk cId="3337087166" sldId="2145706625"/>
            <ac:spMk id="20" creationId="{737D4483-A701-46D4-A924-44DFA6CCB43D}"/>
          </ac:spMkLst>
        </pc:spChg>
        <pc:grpChg chg="add mod">
          <ac:chgData name="Geoff Bennett" userId="18e2b201-f278-4657-aca6-41509691b92d" providerId="ADAL" clId="{3D1ED20F-48AD-485E-B132-4355CCA9B1DB}" dt="2022-05-06T13:56:04.419" v="5280" actId="164"/>
          <ac:grpSpMkLst>
            <pc:docMk/>
            <pc:sldMk cId="3337087166" sldId="2145706625"/>
            <ac:grpSpMk id="21" creationId="{256E8C39-7D06-41E6-B5EB-2B5D19CEE4B3}"/>
          </ac:grpSpMkLst>
        </pc:grpChg>
        <pc:grpChg chg="add mod">
          <ac:chgData name="Geoff Bennett" userId="18e2b201-f278-4657-aca6-41509691b92d" providerId="ADAL" clId="{3D1ED20F-48AD-485E-B132-4355CCA9B1DB}" dt="2022-05-06T13:56:15.593" v="5282" actId="164"/>
          <ac:grpSpMkLst>
            <pc:docMk/>
            <pc:sldMk cId="3337087166" sldId="2145706625"/>
            <ac:grpSpMk id="22" creationId="{093A2555-6814-4A24-8E01-2DF7DEC1BA7C}"/>
          </ac:grpSpMkLst>
        </pc:grpChg>
        <pc:grpChg chg="add mod">
          <ac:chgData name="Geoff Bennett" userId="18e2b201-f278-4657-aca6-41509691b92d" providerId="ADAL" clId="{3D1ED20F-48AD-485E-B132-4355CCA9B1DB}" dt="2022-05-06T13:56:22.506" v="5284" actId="164"/>
          <ac:grpSpMkLst>
            <pc:docMk/>
            <pc:sldMk cId="3337087166" sldId="2145706625"/>
            <ac:grpSpMk id="23" creationId="{376C157B-F48B-4F81-BDF3-F31B3C769139}"/>
          </ac:grpSpMkLst>
        </pc:grpChg>
        <pc:grpChg chg="add mod">
          <ac:chgData name="Geoff Bennett" userId="18e2b201-f278-4657-aca6-41509691b92d" providerId="ADAL" clId="{3D1ED20F-48AD-485E-B132-4355CCA9B1DB}" dt="2022-05-06T13:56:50.490" v="5289" actId="164"/>
          <ac:grpSpMkLst>
            <pc:docMk/>
            <pc:sldMk cId="3337087166" sldId="2145706625"/>
            <ac:grpSpMk id="24" creationId="{CC428609-B6B7-4249-8670-A398914880A4}"/>
          </ac:grpSpMkLst>
        </pc:grpChg>
        <pc:picChg chg="add mod">
          <ac:chgData name="Geoff Bennett" userId="18e2b201-f278-4657-aca6-41509691b92d" providerId="ADAL" clId="{3D1ED20F-48AD-485E-B132-4355CCA9B1DB}" dt="2022-05-06T13:49:55.581" v="5226" actId="1035"/>
          <ac:picMkLst>
            <pc:docMk/>
            <pc:sldMk cId="3337087166" sldId="2145706625"/>
            <ac:picMk id="9" creationId="{BEDA323B-B79B-493D-B4A2-932FDC48C004}"/>
          </ac:picMkLst>
        </pc:picChg>
      </pc:sldChg>
      <pc:sldChg chg="addSp delSp modSp new mod modTransition modAnim">
        <pc:chgData name="Geoff Bennett" userId="18e2b201-f278-4657-aca6-41509691b92d" providerId="ADAL" clId="{3D1ED20F-48AD-485E-B132-4355CCA9B1DB}" dt="2022-05-06T10:51:28.731" v="1769"/>
        <pc:sldMkLst>
          <pc:docMk/>
          <pc:sldMk cId="476451849" sldId="2145706626"/>
        </pc:sldMkLst>
        <pc:spChg chg="del">
          <ac:chgData name="Geoff Bennett" userId="18e2b201-f278-4657-aca6-41509691b92d" providerId="ADAL" clId="{3D1ED20F-48AD-485E-B132-4355CCA9B1DB}" dt="2022-05-06T07:49:34.814" v="417" actId="478"/>
          <ac:spMkLst>
            <pc:docMk/>
            <pc:sldMk cId="476451849" sldId="2145706626"/>
            <ac:spMk id="2" creationId="{4245E51C-7E04-48A8-9C1D-55FB99CE3099}"/>
          </ac:spMkLst>
        </pc:spChg>
        <pc:spChg chg="del">
          <ac:chgData name="Geoff Bennett" userId="18e2b201-f278-4657-aca6-41509691b92d" providerId="ADAL" clId="{3D1ED20F-48AD-485E-B132-4355CCA9B1DB}" dt="2022-05-06T07:49:34.814" v="417" actId="478"/>
          <ac:spMkLst>
            <pc:docMk/>
            <pc:sldMk cId="476451849" sldId="2145706626"/>
            <ac:spMk id="3" creationId="{43FB19D9-EE7A-4F63-B007-D67E7894DCDC}"/>
          </ac:spMkLst>
        </pc:spChg>
        <pc:spChg chg="del">
          <ac:chgData name="Geoff Bennett" userId="18e2b201-f278-4657-aca6-41509691b92d" providerId="ADAL" clId="{3D1ED20F-48AD-485E-B132-4355CCA9B1DB}" dt="2022-05-06T07:49:34.814" v="417" actId="478"/>
          <ac:spMkLst>
            <pc:docMk/>
            <pc:sldMk cId="476451849" sldId="2145706626"/>
            <ac:spMk id="4" creationId="{D2FC9CB3-E7EC-411F-94A9-6BCBB256311D}"/>
          </ac:spMkLst>
        </pc:spChg>
        <pc:spChg chg="add mod">
          <ac:chgData name="Geoff Bennett" userId="18e2b201-f278-4657-aca6-41509691b92d" providerId="ADAL" clId="{3D1ED20F-48AD-485E-B132-4355CCA9B1DB}" dt="2022-05-06T08:03:46.651" v="985" actId="1076"/>
          <ac:spMkLst>
            <pc:docMk/>
            <pc:sldMk cId="476451849" sldId="2145706626"/>
            <ac:spMk id="5" creationId="{67A16E18-03C3-499E-9B85-79E521B10227}"/>
          </ac:spMkLst>
        </pc:spChg>
        <pc:spChg chg="add mod">
          <ac:chgData name="Geoff Bennett" userId="18e2b201-f278-4657-aca6-41509691b92d" providerId="ADAL" clId="{3D1ED20F-48AD-485E-B132-4355CCA9B1DB}" dt="2022-05-06T09:14:56.823" v="1413" actId="164"/>
          <ac:spMkLst>
            <pc:docMk/>
            <pc:sldMk cId="476451849" sldId="2145706626"/>
            <ac:spMk id="6" creationId="{FE3798F4-41AA-4719-B3BC-9BAAD9CC7EEE}"/>
          </ac:spMkLst>
        </pc:spChg>
        <pc:spChg chg="add mod">
          <ac:chgData name="Geoff Bennett" userId="18e2b201-f278-4657-aca6-41509691b92d" providerId="ADAL" clId="{3D1ED20F-48AD-485E-B132-4355CCA9B1DB}" dt="2022-05-06T08:03:37.978" v="984" actId="1076"/>
          <ac:spMkLst>
            <pc:docMk/>
            <pc:sldMk cId="476451849" sldId="2145706626"/>
            <ac:spMk id="7" creationId="{A59C469F-4495-4316-91AA-A472F15B101C}"/>
          </ac:spMkLst>
        </pc:spChg>
        <pc:spChg chg="add mod">
          <ac:chgData name="Geoff Bennett" userId="18e2b201-f278-4657-aca6-41509691b92d" providerId="ADAL" clId="{3D1ED20F-48AD-485E-B132-4355CCA9B1DB}" dt="2022-05-06T09:15:05.373" v="1415" actId="164"/>
          <ac:spMkLst>
            <pc:docMk/>
            <pc:sldMk cId="476451849" sldId="2145706626"/>
            <ac:spMk id="8" creationId="{4B305E20-551E-4AEB-846F-C27DAF67A497}"/>
          </ac:spMkLst>
        </pc:spChg>
        <pc:spChg chg="add mod">
          <ac:chgData name="Geoff Bennett" userId="18e2b201-f278-4657-aca6-41509691b92d" providerId="ADAL" clId="{3D1ED20F-48AD-485E-B132-4355CCA9B1DB}" dt="2022-05-06T08:18:07.358" v="1408" actId="207"/>
          <ac:spMkLst>
            <pc:docMk/>
            <pc:sldMk cId="476451849" sldId="2145706626"/>
            <ac:spMk id="9" creationId="{86BDCF58-520C-473E-A89B-63F8E4232CBF}"/>
          </ac:spMkLst>
        </pc:spChg>
        <pc:spChg chg="add mod">
          <ac:chgData name="Geoff Bennett" userId="18e2b201-f278-4657-aca6-41509691b92d" providerId="ADAL" clId="{3D1ED20F-48AD-485E-B132-4355CCA9B1DB}" dt="2022-05-06T09:14:56.823" v="1413" actId="164"/>
          <ac:spMkLst>
            <pc:docMk/>
            <pc:sldMk cId="476451849" sldId="2145706626"/>
            <ac:spMk id="10" creationId="{33C21B70-3552-448D-A655-408DAF56A42E}"/>
          </ac:spMkLst>
        </pc:spChg>
        <pc:spChg chg="add mod">
          <ac:chgData name="Geoff Bennett" userId="18e2b201-f278-4657-aca6-41509691b92d" providerId="ADAL" clId="{3D1ED20F-48AD-485E-B132-4355CCA9B1DB}" dt="2022-05-06T09:15:37.749" v="1418" actId="164"/>
          <ac:spMkLst>
            <pc:docMk/>
            <pc:sldMk cId="476451849" sldId="2145706626"/>
            <ac:spMk id="11" creationId="{A092773E-210B-4B97-83F3-2CAA3123ABB3}"/>
          </ac:spMkLst>
        </pc:spChg>
        <pc:spChg chg="add mod">
          <ac:chgData name="Geoff Bennett" userId="18e2b201-f278-4657-aca6-41509691b92d" providerId="ADAL" clId="{3D1ED20F-48AD-485E-B132-4355CCA9B1DB}" dt="2022-05-06T09:15:05.373" v="1415" actId="164"/>
          <ac:spMkLst>
            <pc:docMk/>
            <pc:sldMk cId="476451849" sldId="2145706626"/>
            <ac:spMk id="12" creationId="{07764AB5-B635-4686-929E-7669C64242FA}"/>
          </ac:spMkLst>
        </pc:spChg>
        <pc:spChg chg="add mod">
          <ac:chgData name="Geoff Bennett" userId="18e2b201-f278-4657-aca6-41509691b92d" providerId="ADAL" clId="{3D1ED20F-48AD-485E-B132-4355CCA9B1DB}" dt="2022-05-06T09:15:37.749" v="1418" actId="164"/>
          <ac:spMkLst>
            <pc:docMk/>
            <pc:sldMk cId="476451849" sldId="2145706626"/>
            <ac:spMk id="13" creationId="{CA807C5A-6B57-4244-9E0C-3D80D4C89636}"/>
          </ac:spMkLst>
        </pc:spChg>
        <pc:spChg chg="add mod">
          <ac:chgData name="Geoff Bennett" userId="18e2b201-f278-4657-aca6-41509691b92d" providerId="ADAL" clId="{3D1ED20F-48AD-485E-B132-4355CCA9B1DB}" dt="2022-05-06T08:18:28.021" v="1410" actId="207"/>
          <ac:spMkLst>
            <pc:docMk/>
            <pc:sldMk cId="476451849" sldId="2145706626"/>
            <ac:spMk id="14" creationId="{06F5EF9F-770B-4B9C-AD07-9D1200766F75}"/>
          </ac:spMkLst>
        </pc:spChg>
        <pc:spChg chg="add mod">
          <ac:chgData name="Geoff Bennett" userId="18e2b201-f278-4657-aca6-41509691b92d" providerId="ADAL" clId="{3D1ED20F-48AD-485E-B132-4355CCA9B1DB}" dt="2022-05-06T08:04:16.882" v="1033" actId="14100"/>
          <ac:spMkLst>
            <pc:docMk/>
            <pc:sldMk cId="476451849" sldId="2145706626"/>
            <ac:spMk id="15" creationId="{9BB41929-C9DA-4B8B-98C2-0BFD5FC7DB0F}"/>
          </ac:spMkLst>
        </pc:spChg>
        <pc:spChg chg="mod">
          <ac:chgData name="Geoff Bennett" userId="18e2b201-f278-4657-aca6-41509691b92d" providerId="ADAL" clId="{3D1ED20F-48AD-485E-B132-4355CCA9B1DB}" dt="2022-05-06T08:06:42.088" v="1039"/>
          <ac:spMkLst>
            <pc:docMk/>
            <pc:sldMk cId="476451849" sldId="2145706626"/>
            <ac:spMk id="18" creationId="{2FA60F6A-4268-497B-B9BC-B9AAC41B83F2}"/>
          </ac:spMkLst>
        </pc:spChg>
        <pc:spChg chg="mod">
          <ac:chgData name="Geoff Bennett" userId="18e2b201-f278-4657-aca6-41509691b92d" providerId="ADAL" clId="{3D1ED20F-48AD-485E-B132-4355CCA9B1DB}" dt="2022-05-06T08:06:42.088" v="1039"/>
          <ac:spMkLst>
            <pc:docMk/>
            <pc:sldMk cId="476451849" sldId="2145706626"/>
            <ac:spMk id="21" creationId="{F6255262-B854-4A0D-A66C-E80414B4FDE2}"/>
          </ac:spMkLst>
        </pc:spChg>
        <pc:spChg chg="mod">
          <ac:chgData name="Geoff Bennett" userId="18e2b201-f278-4657-aca6-41509691b92d" providerId="ADAL" clId="{3D1ED20F-48AD-485E-B132-4355CCA9B1DB}" dt="2022-05-06T08:06:42.088" v="1039"/>
          <ac:spMkLst>
            <pc:docMk/>
            <pc:sldMk cId="476451849" sldId="2145706626"/>
            <ac:spMk id="22" creationId="{110A5FB6-E70A-4250-B339-E01749AA8B24}"/>
          </ac:spMkLst>
        </pc:spChg>
        <pc:spChg chg="mod">
          <ac:chgData name="Geoff Bennett" userId="18e2b201-f278-4657-aca6-41509691b92d" providerId="ADAL" clId="{3D1ED20F-48AD-485E-B132-4355CCA9B1DB}" dt="2022-05-06T08:06:42.088" v="1039"/>
          <ac:spMkLst>
            <pc:docMk/>
            <pc:sldMk cId="476451849" sldId="2145706626"/>
            <ac:spMk id="24" creationId="{B1595F3A-A853-449D-B607-2A18DBC5D70F}"/>
          </ac:spMkLst>
        </pc:spChg>
        <pc:spChg chg="mod">
          <ac:chgData name="Geoff Bennett" userId="18e2b201-f278-4657-aca6-41509691b92d" providerId="ADAL" clId="{3D1ED20F-48AD-485E-B132-4355CCA9B1DB}" dt="2022-05-06T08:06:42.088" v="1039"/>
          <ac:spMkLst>
            <pc:docMk/>
            <pc:sldMk cId="476451849" sldId="2145706626"/>
            <ac:spMk id="25" creationId="{EA4E8B36-CB93-47A1-A72C-7AA7FE5AE26F}"/>
          </ac:spMkLst>
        </pc:spChg>
        <pc:grpChg chg="add mod">
          <ac:chgData name="Geoff Bennett" userId="18e2b201-f278-4657-aca6-41509691b92d" providerId="ADAL" clId="{3D1ED20F-48AD-485E-B132-4355CCA9B1DB}" dt="2022-05-06T09:14:56.823" v="1413" actId="164"/>
          <ac:grpSpMkLst>
            <pc:docMk/>
            <pc:sldMk cId="476451849" sldId="2145706626"/>
            <ac:grpSpMk id="16" creationId="{F8F905CD-06F6-4437-9414-CB86120B7309}"/>
          </ac:grpSpMkLst>
        </pc:grpChg>
        <pc:grpChg chg="add del mod">
          <ac:chgData name="Geoff Bennett" userId="18e2b201-f278-4657-aca6-41509691b92d" providerId="ADAL" clId="{3D1ED20F-48AD-485E-B132-4355CCA9B1DB}" dt="2022-05-06T08:07:41.643" v="1200" actId="478"/>
          <ac:grpSpMkLst>
            <pc:docMk/>
            <pc:sldMk cId="476451849" sldId="2145706626"/>
            <ac:grpSpMk id="17" creationId="{374E7929-C1A7-4A3F-9A53-B01A406F6A89}"/>
          </ac:grpSpMkLst>
        </pc:grpChg>
        <pc:grpChg chg="add del mod">
          <ac:chgData name="Geoff Bennett" userId="18e2b201-f278-4657-aca6-41509691b92d" providerId="ADAL" clId="{3D1ED20F-48AD-485E-B132-4355CCA9B1DB}" dt="2022-05-06T08:07:41.643" v="1200" actId="478"/>
          <ac:grpSpMkLst>
            <pc:docMk/>
            <pc:sldMk cId="476451849" sldId="2145706626"/>
            <ac:grpSpMk id="20" creationId="{EA62E987-762B-401A-B7C5-DC6519EF5224}"/>
          </ac:grpSpMkLst>
        </pc:grpChg>
        <pc:grpChg chg="add del mod">
          <ac:chgData name="Geoff Bennett" userId="18e2b201-f278-4657-aca6-41509691b92d" providerId="ADAL" clId="{3D1ED20F-48AD-485E-B132-4355CCA9B1DB}" dt="2022-05-06T08:07:41.643" v="1200" actId="478"/>
          <ac:grpSpMkLst>
            <pc:docMk/>
            <pc:sldMk cId="476451849" sldId="2145706626"/>
            <ac:grpSpMk id="23" creationId="{4478A21C-5D1D-4B4C-A80F-1DABF312EC0D}"/>
          </ac:grpSpMkLst>
        </pc:grpChg>
        <pc:grpChg chg="add mod">
          <ac:chgData name="Geoff Bennett" userId="18e2b201-f278-4657-aca6-41509691b92d" providerId="ADAL" clId="{3D1ED20F-48AD-485E-B132-4355CCA9B1DB}" dt="2022-05-06T09:15:05.373" v="1415" actId="164"/>
          <ac:grpSpMkLst>
            <pc:docMk/>
            <pc:sldMk cId="476451849" sldId="2145706626"/>
            <ac:grpSpMk id="36" creationId="{5F318B94-E2F0-45E2-849A-D57A1A706447}"/>
          </ac:grpSpMkLst>
        </pc:grpChg>
        <pc:grpChg chg="add mod">
          <ac:chgData name="Geoff Bennett" userId="18e2b201-f278-4657-aca6-41509691b92d" providerId="ADAL" clId="{3D1ED20F-48AD-485E-B132-4355CCA9B1DB}" dt="2022-05-06T09:15:37.749" v="1418" actId="164"/>
          <ac:grpSpMkLst>
            <pc:docMk/>
            <pc:sldMk cId="476451849" sldId="2145706626"/>
            <ac:grpSpMk id="37" creationId="{62192805-3933-4DE2-971B-38CEE1BA57CB}"/>
          </ac:grpSpMkLst>
        </pc:grpChg>
        <pc:picChg chg="mod">
          <ac:chgData name="Geoff Bennett" userId="18e2b201-f278-4657-aca6-41509691b92d" providerId="ADAL" clId="{3D1ED20F-48AD-485E-B132-4355CCA9B1DB}" dt="2022-05-06T08:06:42.088" v="1039"/>
          <ac:picMkLst>
            <pc:docMk/>
            <pc:sldMk cId="476451849" sldId="2145706626"/>
            <ac:picMk id="19" creationId="{4FCC247C-AE94-4C68-A1AC-0A292608F175}"/>
          </ac:picMkLst>
        </pc:picChg>
        <pc:picChg chg="mod">
          <ac:chgData name="Geoff Bennett" userId="18e2b201-f278-4657-aca6-41509691b92d" providerId="ADAL" clId="{3D1ED20F-48AD-485E-B132-4355CCA9B1DB}" dt="2022-05-06T08:06:42.088" v="1039"/>
          <ac:picMkLst>
            <pc:docMk/>
            <pc:sldMk cId="476451849" sldId="2145706626"/>
            <ac:picMk id="26" creationId="{921B5D25-3C50-4116-89F4-68306CC1E062}"/>
          </ac:picMkLst>
        </pc:picChg>
        <pc:picChg chg="add mod">
          <ac:chgData name="Geoff Bennett" userId="18e2b201-f278-4657-aca6-41509691b92d" providerId="ADAL" clId="{3D1ED20F-48AD-485E-B132-4355CCA9B1DB}" dt="2022-05-06T08:16:27.641" v="1303" actId="1038"/>
          <ac:picMkLst>
            <pc:docMk/>
            <pc:sldMk cId="476451849" sldId="2145706626"/>
            <ac:picMk id="27" creationId="{FC822C49-E23D-418A-B1B1-1676864EE481}"/>
          </ac:picMkLst>
        </pc:picChg>
        <pc:picChg chg="add mod">
          <ac:chgData name="Geoff Bennett" userId="18e2b201-f278-4657-aca6-41509691b92d" providerId="ADAL" clId="{3D1ED20F-48AD-485E-B132-4355CCA9B1DB}" dt="2022-05-06T08:16:27.641" v="1303" actId="1038"/>
          <ac:picMkLst>
            <pc:docMk/>
            <pc:sldMk cId="476451849" sldId="2145706626"/>
            <ac:picMk id="28" creationId="{DADEC036-3F02-4AEE-8E1E-460B1CECA8C5}"/>
          </ac:picMkLst>
        </pc:picChg>
        <pc:picChg chg="add mod">
          <ac:chgData name="Geoff Bennett" userId="18e2b201-f278-4657-aca6-41509691b92d" providerId="ADAL" clId="{3D1ED20F-48AD-485E-B132-4355CCA9B1DB}" dt="2022-05-06T08:16:27.641" v="1303" actId="1038"/>
          <ac:picMkLst>
            <pc:docMk/>
            <pc:sldMk cId="476451849" sldId="2145706626"/>
            <ac:picMk id="29" creationId="{C376ACF1-1AE5-4ADB-B669-2768E0AB94CB}"/>
          </ac:picMkLst>
        </pc:picChg>
        <pc:picChg chg="add mod">
          <ac:chgData name="Geoff Bennett" userId="18e2b201-f278-4657-aca6-41509691b92d" providerId="ADAL" clId="{3D1ED20F-48AD-485E-B132-4355CCA9B1DB}" dt="2022-05-06T08:16:27.641" v="1303" actId="1038"/>
          <ac:picMkLst>
            <pc:docMk/>
            <pc:sldMk cId="476451849" sldId="2145706626"/>
            <ac:picMk id="30" creationId="{E72DC159-4C62-455C-B0F8-693CDC4655F4}"/>
          </ac:picMkLst>
        </pc:picChg>
        <pc:picChg chg="add mod">
          <ac:chgData name="Geoff Bennett" userId="18e2b201-f278-4657-aca6-41509691b92d" providerId="ADAL" clId="{3D1ED20F-48AD-485E-B132-4355CCA9B1DB}" dt="2022-05-06T08:16:27.641" v="1303" actId="1038"/>
          <ac:picMkLst>
            <pc:docMk/>
            <pc:sldMk cId="476451849" sldId="2145706626"/>
            <ac:picMk id="31" creationId="{3196BC93-9A3C-4FB7-B620-D43519AC6955}"/>
          </ac:picMkLst>
        </pc:picChg>
        <pc:picChg chg="add mod">
          <ac:chgData name="Geoff Bennett" userId="18e2b201-f278-4657-aca6-41509691b92d" providerId="ADAL" clId="{3D1ED20F-48AD-485E-B132-4355CCA9B1DB}" dt="2022-05-06T08:16:27.641" v="1303" actId="1038"/>
          <ac:picMkLst>
            <pc:docMk/>
            <pc:sldMk cId="476451849" sldId="2145706626"/>
            <ac:picMk id="32" creationId="{5930733D-262A-4969-801F-533617FA8AE2}"/>
          </ac:picMkLst>
        </pc:picChg>
        <pc:picChg chg="add mod">
          <ac:chgData name="Geoff Bennett" userId="18e2b201-f278-4657-aca6-41509691b92d" providerId="ADAL" clId="{3D1ED20F-48AD-485E-B132-4355CCA9B1DB}" dt="2022-05-06T08:16:27.641" v="1303" actId="1038"/>
          <ac:picMkLst>
            <pc:docMk/>
            <pc:sldMk cId="476451849" sldId="2145706626"/>
            <ac:picMk id="33" creationId="{BF23E76A-35DF-4788-9793-26B18AE8F417}"/>
          </ac:picMkLst>
        </pc:picChg>
        <pc:picChg chg="add mod">
          <ac:chgData name="Geoff Bennett" userId="18e2b201-f278-4657-aca6-41509691b92d" providerId="ADAL" clId="{3D1ED20F-48AD-485E-B132-4355CCA9B1DB}" dt="2022-05-06T08:16:27.641" v="1303" actId="1038"/>
          <ac:picMkLst>
            <pc:docMk/>
            <pc:sldMk cId="476451849" sldId="2145706626"/>
            <ac:picMk id="34" creationId="{60C0CCEC-22A0-41FC-A09C-971CFD3B6BC3}"/>
          </ac:picMkLst>
        </pc:picChg>
        <pc:picChg chg="add mod">
          <ac:chgData name="Geoff Bennett" userId="18e2b201-f278-4657-aca6-41509691b92d" providerId="ADAL" clId="{3D1ED20F-48AD-485E-B132-4355CCA9B1DB}" dt="2022-05-06T08:16:27.641" v="1303" actId="1038"/>
          <ac:picMkLst>
            <pc:docMk/>
            <pc:sldMk cId="476451849" sldId="2145706626"/>
            <ac:picMk id="35" creationId="{E7E85F88-5B9A-4BE2-86F4-F5F9AE615748}"/>
          </ac:picMkLst>
        </pc:picChg>
        <pc:picChg chg="add mod">
          <ac:chgData name="Geoff Bennett" userId="18e2b201-f278-4657-aca6-41509691b92d" providerId="ADAL" clId="{3D1ED20F-48AD-485E-B132-4355CCA9B1DB}" dt="2022-05-06T07:49:45.270" v="420" actId="14100"/>
          <ac:picMkLst>
            <pc:docMk/>
            <pc:sldMk cId="476451849" sldId="2145706626"/>
            <ac:picMk id="1026" creationId="{018AF186-DD68-45C0-88E8-D9DAF5C7ADD1}"/>
          </ac:picMkLst>
        </pc:picChg>
        <pc:picChg chg="add del">
          <ac:chgData name="Geoff Bennett" userId="18e2b201-f278-4657-aca6-41509691b92d" providerId="ADAL" clId="{3D1ED20F-48AD-485E-B132-4355CCA9B1DB}" dt="2022-05-06T08:06:34.437" v="1038" actId="478"/>
          <ac:picMkLst>
            <pc:docMk/>
            <pc:sldMk cId="476451849" sldId="2145706626"/>
            <ac:picMk id="1028" creationId="{003FE22C-0539-43AA-9311-35778D2C5DFE}"/>
          </ac:picMkLst>
        </pc:picChg>
      </pc:sldChg>
      <pc:sldChg chg="addSp delSp modSp add mod modTransition modAnim">
        <pc:chgData name="Geoff Bennett" userId="18e2b201-f278-4657-aca6-41509691b92d" providerId="ADAL" clId="{3D1ED20F-48AD-485E-B132-4355CCA9B1DB}" dt="2022-09-18T14:46:27.079" v="12176" actId="14100"/>
        <pc:sldMkLst>
          <pc:docMk/>
          <pc:sldMk cId="1247479581" sldId="2145706627"/>
        </pc:sldMkLst>
        <pc:spChg chg="add mod">
          <ac:chgData name="Geoff Bennett" userId="18e2b201-f278-4657-aca6-41509691b92d" providerId="ADAL" clId="{3D1ED20F-48AD-485E-B132-4355CCA9B1DB}" dt="2022-09-18T14:33:40.570" v="11672" actId="164"/>
          <ac:spMkLst>
            <pc:docMk/>
            <pc:sldMk cId="1247479581" sldId="2145706627"/>
            <ac:spMk id="4" creationId="{353E0142-5FAC-45A7-14F0-15CA48E8B684}"/>
          </ac:spMkLst>
        </pc:spChg>
        <pc:spChg chg="add del">
          <ac:chgData name="Geoff Bennett" userId="18e2b201-f278-4657-aca6-41509691b92d" providerId="ADAL" clId="{3D1ED20F-48AD-485E-B132-4355CCA9B1DB}" dt="2022-05-06T09:44:53.731" v="1704" actId="478"/>
          <ac:spMkLst>
            <pc:docMk/>
            <pc:sldMk cId="1247479581" sldId="2145706627"/>
            <ac:spMk id="4" creationId="{8087C7C4-16DD-43EE-B65D-46DB9A332821}"/>
          </ac:spMkLst>
        </pc:spChg>
        <pc:spChg chg="add del mod">
          <ac:chgData name="Geoff Bennett" userId="18e2b201-f278-4657-aca6-41509691b92d" providerId="ADAL" clId="{3D1ED20F-48AD-485E-B132-4355CCA9B1DB}" dt="2022-05-06T09:45:39.739" v="1708" actId="478"/>
          <ac:spMkLst>
            <pc:docMk/>
            <pc:sldMk cId="1247479581" sldId="2145706627"/>
            <ac:spMk id="7" creationId="{4E8FEE68-3A03-4CBC-871D-84A52BDC3361}"/>
          </ac:spMkLst>
        </pc:spChg>
        <pc:spChg chg="add del mod">
          <ac:chgData name="Geoff Bennett" userId="18e2b201-f278-4657-aca6-41509691b92d" providerId="ADAL" clId="{3D1ED20F-48AD-485E-B132-4355CCA9B1DB}" dt="2022-05-06T09:48:08.993" v="1756" actId="206"/>
          <ac:spMkLst>
            <pc:docMk/>
            <pc:sldMk cId="1247479581" sldId="2145706627"/>
            <ac:spMk id="8" creationId="{10CB6439-BAAA-4329-8D54-4D8A5B6F755D}"/>
          </ac:spMkLst>
        </pc:spChg>
        <pc:spChg chg="add mod">
          <ac:chgData name="Geoff Bennett" userId="18e2b201-f278-4657-aca6-41509691b92d" providerId="ADAL" clId="{3D1ED20F-48AD-485E-B132-4355CCA9B1DB}" dt="2022-09-18T14:33:40.570" v="11672" actId="164"/>
          <ac:spMkLst>
            <pc:docMk/>
            <pc:sldMk cId="1247479581" sldId="2145706627"/>
            <ac:spMk id="9" creationId="{F9E4ACF8-E0A0-492F-A58B-4780F30429B4}"/>
          </ac:spMkLst>
        </pc:spChg>
        <pc:spChg chg="add mod">
          <ac:chgData name="Geoff Bennett" userId="18e2b201-f278-4657-aca6-41509691b92d" providerId="ADAL" clId="{3D1ED20F-48AD-485E-B132-4355CCA9B1DB}" dt="2022-09-18T14:33:40.570" v="11672" actId="164"/>
          <ac:spMkLst>
            <pc:docMk/>
            <pc:sldMk cId="1247479581" sldId="2145706627"/>
            <ac:spMk id="31" creationId="{B13AC5B7-5425-E2FA-D2D9-0B13F208755C}"/>
          </ac:spMkLst>
        </pc:spChg>
        <pc:spChg chg="del">
          <ac:chgData name="Geoff Bennett" userId="18e2b201-f278-4657-aca6-41509691b92d" providerId="ADAL" clId="{3D1ED20F-48AD-485E-B132-4355CCA9B1DB}" dt="2022-05-06T09:46:18.844" v="1724" actId="478"/>
          <ac:spMkLst>
            <pc:docMk/>
            <pc:sldMk cId="1247479581" sldId="2145706627"/>
            <ac:spMk id="31" creationId="{B34AF86C-1CF9-4400-803B-01B687711490}"/>
          </ac:spMkLst>
        </pc:spChg>
        <pc:spChg chg="add mod ord">
          <ac:chgData name="Geoff Bennett" userId="18e2b201-f278-4657-aca6-41509691b92d" providerId="ADAL" clId="{3D1ED20F-48AD-485E-B132-4355CCA9B1DB}" dt="2022-05-06T10:55:49.664" v="1947" actId="14100"/>
          <ac:spMkLst>
            <pc:docMk/>
            <pc:sldMk cId="1247479581" sldId="2145706627"/>
            <ac:spMk id="32" creationId="{D4F2D42E-F4B6-4E51-9090-CEA80DF7BA3A}"/>
          </ac:spMkLst>
        </pc:spChg>
        <pc:spChg chg="add mod">
          <ac:chgData name="Geoff Bennett" userId="18e2b201-f278-4657-aca6-41509691b92d" providerId="ADAL" clId="{3D1ED20F-48AD-485E-B132-4355CCA9B1DB}" dt="2022-05-06T10:58:57.688" v="2058" actId="1037"/>
          <ac:spMkLst>
            <pc:docMk/>
            <pc:sldMk cId="1247479581" sldId="2145706627"/>
            <ac:spMk id="33" creationId="{29200665-6B19-4E13-A315-F252A948EA37}"/>
          </ac:spMkLst>
        </pc:spChg>
        <pc:spChg chg="mod">
          <ac:chgData name="Geoff Bennett" userId="18e2b201-f278-4657-aca6-41509691b92d" providerId="ADAL" clId="{3D1ED20F-48AD-485E-B132-4355CCA9B1DB}" dt="2022-09-18T14:46:14.902" v="12175" actId="20577"/>
          <ac:spMkLst>
            <pc:docMk/>
            <pc:sldMk cId="1247479581" sldId="2145706627"/>
            <ac:spMk id="445445" creationId="{00000000-0000-0000-0000-000000000000}"/>
          </ac:spMkLst>
        </pc:spChg>
        <pc:spChg chg="add del mod">
          <ac:chgData name="Geoff Bennett" userId="18e2b201-f278-4657-aca6-41509691b92d" providerId="ADAL" clId="{3D1ED20F-48AD-485E-B132-4355CCA9B1DB}" dt="2022-09-18T14:46:27.079" v="12176" actId="14100"/>
          <ac:spMkLst>
            <pc:docMk/>
            <pc:sldMk cId="1247479581" sldId="2145706627"/>
            <ac:spMk id="445461" creationId="{00000000-0000-0000-0000-000000000000}"/>
          </ac:spMkLst>
        </pc:spChg>
        <pc:spChg chg="del">
          <ac:chgData name="Geoff Bennett" userId="18e2b201-f278-4657-aca6-41509691b92d" providerId="ADAL" clId="{3D1ED20F-48AD-485E-B132-4355CCA9B1DB}" dt="2022-05-06T10:51:38.428" v="1770" actId="478"/>
          <ac:spMkLst>
            <pc:docMk/>
            <pc:sldMk cId="1247479581" sldId="2145706627"/>
            <ac:spMk id="445462" creationId="{00000000-0000-0000-0000-000000000000}"/>
          </ac:spMkLst>
        </pc:spChg>
        <pc:spChg chg="del">
          <ac:chgData name="Geoff Bennett" userId="18e2b201-f278-4657-aca6-41509691b92d" providerId="ADAL" clId="{3D1ED20F-48AD-485E-B132-4355CCA9B1DB}" dt="2022-05-06T10:51:40.278" v="1771" actId="478"/>
          <ac:spMkLst>
            <pc:docMk/>
            <pc:sldMk cId="1247479581" sldId="2145706627"/>
            <ac:spMk id="445463" creationId="{00000000-0000-0000-0000-000000000000}"/>
          </ac:spMkLst>
        </pc:spChg>
        <pc:grpChg chg="add mod">
          <ac:chgData name="Geoff Bennett" userId="18e2b201-f278-4657-aca6-41509691b92d" providerId="ADAL" clId="{3D1ED20F-48AD-485E-B132-4355CCA9B1DB}" dt="2022-09-18T14:33:40.570" v="11672" actId="164"/>
          <ac:grpSpMkLst>
            <pc:docMk/>
            <pc:sldMk cId="1247479581" sldId="2145706627"/>
            <ac:grpSpMk id="7" creationId="{46359E89-8AC6-53A7-693E-DAFB5EA66501}"/>
          </ac:grpSpMkLst>
        </pc:grpChg>
      </pc:sldChg>
      <pc:sldChg chg="addSp delSp modSp new del mod">
        <pc:chgData name="Geoff Bennett" userId="18e2b201-f278-4657-aca6-41509691b92d" providerId="ADAL" clId="{3D1ED20F-48AD-485E-B132-4355CCA9B1DB}" dt="2022-05-06T11:23:14.573" v="2598" actId="47"/>
        <pc:sldMkLst>
          <pc:docMk/>
          <pc:sldMk cId="1189178252" sldId="2145706628"/>
        </pc:sldMkLst>
        <pc:spChg chg="del">
          <ac:chgData name="Geoff Bennett" userId="18e2b201-f278-4657-aca6-41509691b92d" providerId="ADAL" clId="{3D1ED20F-48AD-485E-B132-4355CCA9B1DB}" dt="2022-05-06T11:02:29.107" v="2069" actId="478"/>
          <ac:spMkLst>
            <pc:docMk/>
            <pc:sldMk cId="1189178252" sldId="2145706628"/>
            <ac:spMk id="3" creationId="{B728AD7C-D1AD-4D49-8332-AC5324B7C440}"/>
          </ac:spMkLst>
        </pc:spChg>
        <pc:spChg chg="add mod">
          <ac:chgData name="Geoff Bennett" userId="18e2b201-f278-4657-aca6-41509691b92d" providerId="ADAL" clId="{3D1ED20F-48AD-485E-B132-4355CCA9B1DB}" dt="2022-05-06T11:03:56.356" v="2083" actId="1036"/>
          <ac:spMkLst>
            <pc:docMk/>
            <pc:sldMk cId="1189178252" sldId="2145706628"/>
            <ac:spMk id="5" creationId="{3A38C246-7BCE-4065-B480-4A26EE621FFE}"/>
          </ac:spMkLst>
        </pc:spChg>
        <pc:spChg chg="add mod">
          <ac:chgData name="Geoff Bennett" userId="18e2b201-f278-4657-aca6-41509691b92d" providerId="ADAL" clId="{3D1ED20F-48AD-485E-B132-4355CCA9B1DB}" dt="2022-05-06T11:14:39.839" v="2561" actId="164"/>
          <ac:spMkLst>
            <pc:docMk/>
            <pc:sldMk cId="1189178252" sldId="2145706628"/>
            <ac:spMk id="6" creationId="{A15FAD54-8BAB-43E9-B96A-8007C5BC3FD1}"/>
          </ac:spMkLst>
        </pc:spChg>
        <pc:spChg chg="add mod">
          <ac:chgData name="Geoff Bennett" userId="18e2b201-f278-4657-aca6-41509691b92d" providerId="ADAL" clId="{3D1ED20F-48AD-485E-B132-4355CCA9B1DB}" dt="2022-05-06T11:14:39.839" v="2561" actId="164"/>
          <ac:spMkLst>
            <pc:docMk/>
            <pc:sldMk cId="1189178252" sldId="2145706628"/>
            <ac:spMk id="7" creationId="{B0F6CAE9-B79B-4BE1-9888-83CE5C115482}"/>
          </ac:spMkLst>
        </pc:spChg>
        <pc:spChg chg="add mod">
          <ac:chgData name="Geoff Bennett" userId="18e2b201-f278-4657-aca6-41509691b92d" providerId="ADAL" clId="{3D1ED20F-48AD-485E-B132-4355CCA9B1DB}" dt="2022-05-06T11:10:28.693" v="2495" actId="1038"/>
          <ac:spMkLst>
            <pc:docMk/>
            <pc:sldMk cId="1189178252" sldId="2145706628"/>
            <ac:spMk id="11" creationId="{11328CE8-F639-4359-9A3D-40D45749CA80}"/>
          </ac:spMkLst>
        </pc:spChg>
        <pc:spChg chg="add mod">
          <ac:chgData name="Geoff Bennett" userId="18e2b201-f278-4657-aca6-41509691b92d" providerId="ADAL" clId="{3D1ED20F-48AD-485E-B132-4355CCA9B1DB}" dt="2022-05-06T11:11:04.331" v="2552" actId="1038"/>
          <ac:spMkLst>
            <pc:docMk/>
            <pc:sldMk cId="1189178252" sldId="2145706628"/>
            <ac:spMk id="14" creationId="{055C53DA-8348-4E50-AD35-5B033623AA47}"/>
          </ac:spMkLst>
        </pc:spChg>
        <pc:spChg chg="add mod">
          <ac:chgData name="Geoff Bennett" userId="18e2b201-f278-4657-aca6-41509691b92d" providerId="ADAL" clId="{3D1ED20F-48AD-485E-B132-4355CCA9B1DB}" dt="2022-05-06T11:10:31.568" v="2499" actId="1037"/>
          <ac:spMkLst>
            <pc:docMk/>
            <pc:sldMk cId="1189178252" sldId="2145706628"/>
            <ac:spMk id="15" creationId="{CE05351A-DD02-4617-A758-DB12FD689918}"/>
          </ac:spMkLst>
        </pc:spChg>
        <pc:grpChg chg="add mod">
          <ac:chgData name="Geoff Bennett" userId="18e2b201-f278-4657-aca6-41509691b92d" providerId="ADAL" clId="{3D1ED20F-48AD-485E-B132-4355CCA9B1DB}" dt="2022-05-06T11:10:24.443" v="2486" actId="1037"/>
          <ac:grpSpMkLst>
            <pc:docMk/>
            <pc:sldMk cId="1189178252" sldId="2145706628"/>
            <ac:grpSpMk id="12" creationId="{0FA8D811-A9EF-48C4-96CA-DE58723C8FF6}"/>
          </ac:grpSpMkLst>
        </pc:grpChg>
        <pc:grpChg chg="add mod">
          <ac:chgData name="Geoff Bennett" userId="18e2b201-f278-4657-aca6-41509691b92d" providerId="ADAL" clId="{3D1ED20F-48AD-485E-B132-4355CCA9B1DB}" dt="2022-05-06T11:14:39.839" v="2561" actId="164"/>
          <ac:grpSpMkLst>
            <pc:docMk/>
            <pc:sldMk cId="1189178252" sldId="2145706628"/>
            <ac:grpSpMk id="16" creationId="{E83AE801-C4B6-4CAB-87AC-8A89009F2B29}"/>
          </ac:grpSpMkLst>
        </pc:grpChg>
        <pc:picChg chg="add del mod">
          <ac:chgData name="Geoff Bennett" userId="18e2b201-f278-4657-aca6-41509691b92d" providerId="ADAL" clId="{3D1ED20F-48AD-485E-B132-4355CCA9B1DB}" dt="2022-05-06T11:02:39.131" v="2073" actId="478"/>
          <ac:picMkLst>
            <pc:docMk/>
            <pc:sldMk cId="1189178252" sldId="2145706628"/>
            <ac:picMk id="2050" creationId="{8C8B9224-8D3E-4614-8736-277B449C0A40}"/>
          </ac:picMkLst>
        </pc:picChg>
        <pc:picChg chg="add mod">
          <ac:chgData name="Geoff Bennett" userId="18e2b201-f278-4657-aca6-41509691b92d" providerId="ADAL" clId="{3D1ED20F-48AD-485E-B132-4355CCA9B1DB}" dt="2022-05-06T11:03:11.824" v="2078" actId="14100"/>
          <ac:picMkLst>
            <pc:docMk/>
            <pc:sldMk cId="1189178252" sldId="2145706628"/>
            <ac:picMk id="2052" creationId="{FDEE2D66-7A9A-424D-AEC2-B649167702E8}"/>
          </ac:picMkLst>
        </pc:picChg>
        <pc:cxnChg chg="add mod">
          <ac:chgData name="Geoff Bennett" userId="18e2b201-f278-4657-aca6-41509691b92d" providerId="ADAL" clId="{3D1ED20F-48AD-485E-B132-4355CCA9B1DB}" dt="2022-05-06T11:09:58.233" v="2428" actId="164"/>
          <ac:cxnSpMkLst>
            <pc:docMk/>
            <pc:sldMk cId="1189178252" sldId="2145706628"/>
            <ac:cxnSpMk id="9" creationId="{45805D9F-C2B2-4CCE-8846-C7D22D2DC3D8}"/>
          </ac:cxnSpMkLst>
        </pc:cxnChg>
        <pc:cxnChg chg="add mod">
          <ac:chgData name="Geoff Bennett" userId="18e2b201-f278-4657-aca6-41509691b92d" providerId="ADAL" clId="{3D1ED20F-48AD-485E-B132-4355CCA9B1DB}" dt="2022-05-06T11:09:58.233" v="2428" actId="164"/>
          <ac:cxnSpMkLst>
            <pc:docMk/>
            <pc:sldMk cId="1189178252" sldId="2145706628"/>
            <ac:cxnSpMk id="13" creationId="{FBBD137E-974C-41D2-ACF6-A4E5CA5C57DB}"/>
          </ac:cxnSpMkLst>
        </pc:cxnChg>
      </pc:sldChg>
      <pc:sldChg chg="addSp delSp modSp new del mod">
        <pc:chgData name="Geoff Bennett" userId="18e2b201-f278-4657-aca6-41509691b92d" providerId="ADAL" clId="{3D1ED20F-48AD-485E-B132-4355CCA9B1DB}" dt="2022-05-06T10:59:55.293" v="2067" actId="47"/>
        <pc:sldMkLst>
          <pc:docMk/>
          <pc:sldMk cId="3108097717" sldId="2145706628"/>
        </pc:sldMkLst>
        <pc:spChg chg="del">
          <ac:chgData name="Geoff Bennett" userId="18e2b201-f278-4657-aca6-41509691b92d" providerId="ADAL" clId="{3D1ED20F-48AD-485E-B132-4355CCA9B1DB}" dt="2022-05-06T10:52:12.890" v="1777" actId="478"/>
          <ac:spMkLst>
            <pc:docMk/>
            <pc:sldMk cId="3108097717" sldId="2145706628"/>
            <ac:spMk id="3" creationId="{0169AB32-68C8-44A0-B7C6-17985F19F3E0}"/>
          </ac:spMkLst>
        </pc:spChg>
        <pc:spChg chg="mod">
          <ac:chgData name="Geoff Bennett" userId="18e2b201-f278-4657-aca6-41509691b92d" providerId="ADAL" clId="{3D1ED20F-48AD-485E-B132-4355CCA9B1DB}" dt="2022-05-06T10:52:14.202" v="1778"/>
          <ac:spMkLst>
            <pc:docMk/>
            <pc:sldMk cId="3108097717" sldId="2145706628"/>
            <ac:spMk id="6" creationId="{0F35F6FA-D66D-49A9-A53E-0AD57A704DC0}"/>
          </ac:spMkLst>
        </pc:spChg>
        <pc:spChg chg="mod">
          <ac:chgData name="Geoff Bennett" userId="18e2b201-f278-4657-aca6-41509691b92d" providerId="ADAL" clId="{3D1ED20F-48AD-485E-B132-4355CCA9B1DB}" dt="2022-05-06T10:52:14.202" v="1778"/>
          <ac:spMkLst>
            <pc:docMk/>
            <pc:sldMk cId="3108097717" sldId="2145706628"/>
            <ac:spMk id="7" creationId="{BBBF361C-77FF-490D-9459-7BDFE2C6DD71}"/>
          </ac:spMkLst>
        </pc:spChg>
        <pc:spChg chg="add mod">
          <ac:chgData name="Geoff Bennett" userId="18e2b201-f278-4657-aca6-41509691b92d" providerId="ADAL" clId="{3D1ED20F-48AD-485E-B132-4355CCA9B1DB}" dt="2022-05-06T10:52:54.910" v="1791" actId="208"/>
          <ac:spMkLst>
            <pc:docMk/>
            <pc:sldMk cId="3108097717" sldId="2145706628"/>
            <ac:spMk id="8" creationId="{9FEAC4AD-18B0-4537-A683-6221F2616C9F}"/>
          </ac:spMkLst>
        </pc:spChg>
        <pc:spChg chg="add mod">
          <ac:chgData name="Geoff Bennett" userId="18e2b201-f278-4657-aca6-41509691b92d" providerId="ADAL" clId="{3D1ED20F-48AD-485E-B132-4355CCA9B1DB}" dt="2022-05-06T10:52:54.910" v="1791" actId="208"/>
          <ac:spMkLst>
            <pc:docMk/>
            <pc:sldMk cId="3108097717" sldId="2145706628"/>
            <ac:spMk id="9" creationId="{E0445A53-3894-4B9B-AF5A-CD4FE9745BEA}"/>
          </ac:spMkLst>
        </pc:spChg>
        <pc:spChg chg="mod">
          <ac:chgData name="Geoff Bennett" userId="18e2b201-f278-4657-aca6-41509691b92d" providerId="ADAL" clId="{3D1ED20F-48AD-485E-B132-4355CCA9B1DB}" dt="2022-05-06T10:52:54.910" v="1791" actId="208"/>
          <ac:spMkLst>
            <pc:docMk/>
            <pc:sldMk cId="3108097717" sldId="2145706628"/>
            <ac:spMk id="12" creationId="{8390C010-3AB4-412E-B723-F9682D5E4CDA}"/>
          </ac:spMkLst>
        </pc:spChg>
        <pc:spChg chg="mod">
          <ac:chgData name="Geoff Bennett" userId="18e2b201-f278-4657-aca6-41509691b92d" providerId="ADAL" clId="{3D1ED20F-48AD-485E-B132-4355CCA9B1DB}" dt="2022-05-06T10:52:54.910" v="1791" actId="208"/>
          <ac:spMkLst>
            <pc:docMk/>
            <pc:sldMk cId="3108097717" sldId="2145706628"/>
            <ac:spMk id="13" creationId="{FF7CF734-00F3-4AB7-ACB4-5D7542DD5ACC}"/>
          </ac:spMkLst>
        </pc:spChg>
        <pc:spChg chg="mod">
          <ac:chgData name="Geoff Bennett" userId="18e2b201-f278-4657-aca6-41509691b92d" providerId="ADAL" clId="{3D1ED20F-48AD-485E-B132-4355CCA9B1DB}" dt="2022-05-06T10:52:54.910" v="1791" actId="208"/>
          <ac:spMkLst>
            <pc:docMk/>
            <pc:sldMk cId="3108097717" sldId="2145706628"/>
            <ac:spMk id="15" creationId="{D5294F0E-CA99-4768-B6FB-3A74BA42E3FE}"/>
          </ac:spMkLst>
        </pc:spChg>
        <pc:spChg chg="mod">
          <ac:chgData name="Geoff Bennett" userId="18e2b201-f278-4657-aca6-41509691b92d" providerId="ADAL" clId="{3D1ED20F-48AD-485E-B132-4355CCA9B1DB}" dt="2022-05-06T10:52:54.910" v="1791" actId="208"/>
          <ac:spMkLst>
            <pc:docMk/>
            <pc:sldMk cId="3108097717" sldId="2145706628"/>
            <ac:spMk id="16" creationId="{378D1650-1F76-4547-8459-A69123C62BCC}"/>
          </ac:spMkLst>
        </pc:spChg>
        <pc:spChg chg="mod">
          <ac:chgData name="Geoff Bennett" userId="18e2b201-f278-4657-aca6-41509691b92d" providerId="ADAL" clId="{3D1ED20F-48AD-485E-B132-4355CCA9B1DB}" dt="2022-05-06T10:52:54.910" v="1791" actId="208"/>
          <ac:spMkLst>
            <pc:docMk/>
            <pc:sldMk cId="3108097717" sldId="2145706628"/>
            <ac:spMk id="18" creationId="{BF237147-4A3C-46E3-A761-0E54875428FE}"/>
          </ac:spMkLst>
        </pc:spChg>
        <pc:spChg chg="mod">
          <ac:chgData name="Geoff Bennett" userId="18e2b201-f278-4657-aca6-41509691b92d" providerId="ADAL" clId="{3D1ED20F-48AD-485E-B132-4355CCA9B1DB}" dt="2022-05-06T10:52:54.910" v="1791" actId="208"/>
          <ac:spMkLst>
            <pc:docMk/>
            <pc:sldMk cId="3108097717" sldId="2145706628"/>
            <ac:spMk id="19" creationId="{D84551C1-FEA4-41EA-93F4-52D0C43BBD90}"/>
          </ac:spMkLst>
        </pc:spChg>
        <pc:spChg chg="mod">
          <ac:chgData name="Geoff Bennett" userId="18e2b201-f278-4657-aca6-41509691b92d" providerId="ADAL" clId="{3D1ED20F-48AD-485E-B132-4355CCA9B1DB}" dt="2022-05-06T10:52:54.910" v="1791" actId="208"/>
          <ac:spMkLst>
            <pc:docMk/>
            <pc:sldMk cId="3108097717" sldId="2145706628"/>
            <ac:spMk id="21" creationId="{20B4D632-BA2F-4A15-B9C6-122397820C41}"/>
          </ac:spMkLst>
        </pc:spChg>
        <pc:spChg chg="mod">
          <ac:chgData name="Geoff Bennett" userId="18e2b201-f278-4657-aca6-41509691b92d" providerId="ADAL" clId="{3D1ED20F-48AD-485E-B132-4355CCA9B1DB}" dt="2022-05-06T10:52:54.910" v="1791" actId="208"/>
          <ac:spMkLst>
            <pc:docMk/>
            <pc:sldMk cId="3108097717" sldId="2145706628"/>
            <ac:spMk id="22" creationId="{A4AF9752-61D5-4DA7-A9FB-35E7848BA667}"/>
          </ac:spMkLst>
        </pc:spChg>
        <pc:spChg chg="mod">
          <ac:chgData name="Geoff Bennett" userId="18e2b201-f278-4657-aca6-41509691b92d" providerId="ADAL" clId="{3D1ED20F-48AD-485E-B132-4355CCA9B1DB}" dt="2022-05-06T10:52:54.910" v="1791" actId="208"/>
          <ac:spMkLst>
            <pc:docMk/>
            <pc:sldMk cId="3108097717" sldId="2145706628"/>
            <ac:spMk id="24" creationId="{01B18767-0B72-4035-9D57-068579D268CE}"/>
          </ac:spMkLst>
        </pc:spChg>
        <pc:spChg chg="mod">
          <ac:chgData name="Geoff Bennett" userId="18e2b201-f278-4657-aca6-41509691b92d" providerId="ADAL" clId="{3D1ED20F-48AD-485E-B132-4355CCA9B1DB}" dt="2022-05-06T10:52:54.910" v="1791" actId="208"/>
          <ac:spMkLst>
            <pc:docMk/>
            <pc:sldMk cId="3108097717" sldId="2145706628"/>
            <ac:spMk id="25" creationId="{2E5984A4-1A14-40E6-9C44-C87A7628C5DE}"/>
          </ac:spMkLst>
        </pc:spChg>
        <pc:spChg chg="mod">
          <ac:chgData name="Geoff Bennett" userId="18e2b201-f278-4657-aca6-41509691b92d" providerId="ADAL" clId="{3D1ED20F-48AD-485E-B132-4355CCA9B1DB}" dt="2022-05-06T10:52:54.910" v="1791" actId="208"/>
          <ac:spMkLst>
            <pc:docMk/>
            <pc:sldMk cId="3108097717" sldId="2145706628"/>
            <ac:spMk id="27" creationId="{02CE526A-06BF-4387-9103-1500EF7C26E8}"/>
          </ac:spMkLst>
        </pc:spChg>
        <pc:spChg chg="mod">
          <ac:chgData name="Geoff Bennett" userId="18e2b201-f278-4657-aca6-41509691b92d" providerId="ADAL" clId="{3D1ED20F-48AD-485E-B132-4355CCA9B1DB}" dt="2022-05-06T10:52:54.910" v="1791" actId="208"/>
          <ac:spMkLst>
            <pc:docMk/>
            <pc:sldMk cId="3108097717" sldId="2145706628"/>
            <ac:spMk id="28" creationId="{4E52C9B3-8D9F-474D-A757-E2110C3BE438}"/>
          </ac:spMkLst>
        </pc:spChg>
        <pc:spChg chg="add mod">
          <ac:chgData name="Geoff Bennett" userId="18e2b201-f278-4657-aca6-41509691b92d" providerId="ADAL" clId="{3D1ED20F-48AD-485E-B132-4355CCA9B1DB}" dt="2022-05-06T10:55:26.917" v="1944" actId="208"/>
          <ac:spMkLst>
            <pc:docMk/>
            <pc:sldMk cId="3108097717" sldId="2145706628"/>
            <ac:spMk id="32" creationId="{7D333894-7204-4F24-AB02-D50D5A249D62}"/>
          </ac:spMkLst>
        </pc:spChg>
        <pc:grpChg chg="add mod">
          <ac:chgData name="Geoff Bennett" userId="18e2b201-f278-4657-aca6-41509691b92d" providerId="ADAL" clId="{3D1ED20F-48AD-485E-B132-4355CCA9B1DB}" dt="2022-05-06T10:52:14.202" v="1778"/>
          <ac:grpSpMkLst>
            <pc:docMk/>
            <pc:sldMk cId="3108097717" sldId="2145706628"/>
            <ac:grpSpMk id="5" creationId="{D474B887-4F3D-4DD7-8DF4-85A73E4D7ADC}"/>
          </ac:grpSpMkLst>
        </pc:grpChg>
        <pc:grpChg chg="add mod">
          <ac:chgData name="Geoff Bennett" userId="18e2b201-f278-4657-aca6-41509691b92d" providerId="ADAL" clId="{3D1ED20F-48AD-485E-B132-4355CCA9B1DB}" dt="2022-05-06T10:52:51.280" v="1790" actId="164"/>
          <ac:grpSpMkLst>
            <pc:docMk/>
            <pc:sldMk cId="3108097717" sldId="2145706628"/>
            <ac:grpSpMk id="10" creationId="{2BF6E95F-1299-4D60-AF05-9AF2957F5590}"/>
          </ac:grpSpMkLst>
        </pc:grpChg>
        <pc:grpChg chg="add mod">
          <ac:chgData name="Geoff Bennett" userId="18e2b201-f278-4657-aca6-41509691b92d" providerId="ADAL" clId="{3D1ED20F-48AD-485E-B132-4355CCA9B1DB}" dt="2022-05-06T10:52:51.280" v="1790" actId="164"/>
          <ac:grpSpMkLst>
            <pc:docMk/>
            <pc:sldMk cId="3108097717" sldId="2145706628"/>
            <ac:grpSpMk id="11" creationId="{451EC4EC-3D43-4982-AFAC-3302BC1C5291}"/>
          </ac:grpSpMkLst>
        </pc:grpChg>
        <pc:grpChg chg="add mod">
          <ac:chgData name="Geoff Bennett" userId="18e2b201-f278-4657-aca6-41509691b92d" providerId="ADAL" clId="{3D1ED20F-48AD-485E-B132-4355CCA9B1DB}" dt="2022-05-06T10:52:51.280" v="1790" actId="164"/>
          <ac:grpSpMkLst>
            <pc:docMk/>
            <pc:sldMk cId="3108097717" sldId="2145706628"/>
            <ac:grpSpMk id="14" creationId="{8005A97C-1F1F-4F33-8A0B-5344B3528D67}"/>
          </ac:grpSpMkLst>
        </pc:grpChg>
        <pc:grpChg chg="add mod">
          <ac:chgData name="Geoff Bennett" userId="18e2b201-f278-4657-aca6-41509691b92d" providerId="ADAL" clId="{3D1ED20F-48AD-485E-B132-4355CCA9B1DB}" dt="2022-05-06T10:52:51.280" v="1790" actId="164"/>
          <ac:grpSpMkLst>
            <pc:docMk/>
            <pc:sldMk cId="3108097717" sldId="2145706628"/>
            <ac:grpSpMk id="17" creationId="{B7B848F6-81BB-4064-BACB-05D28DEC0833}"/>
          </ac:grpSpMkLst>
        </pc:grpChg>
        <pc:grpChg chg="add mod">
          <ac:chgData name="Geoff Bennett" userId="18e2b201-f278-4657-aca6-41509691b92d" providerId="ADAL" clId="{3D1ED20F-48AD-485E-B132-4355CCA9B1DB}" dt="2022-05-06T10:52:51.280" v="1790" actId="164"/>
          <ac:grpSpMkLst>
            <pc:docMk/>
            <pc:sldMk cId="3108097717" sldId="2145706628"/>
            <ac:grpSpMk id="20" creationId="{2E7A6FC8-499F-4391-BC0B-30BBB7598C63}"/>
          </ac:grpSpMkLst>
        </pc:grpChg>
        <pc:grpChg chg="add mod">
          <ac:chgData name="Geoff Bennett" userId="18e2b201-f278-4657-aca6-41509691b92d" providerId="ADAL" clId="{3D1ED20F-48AD-485E-B132-4355CCA9B1DB}" dt="2022-05-06T10:52:51.280" v="1790" actId="164"/>
          <ac:grpSpMkLst>
            <pc:docMk/>
            <pc:sldMk cId="3108097717" sldId="2145706628"/>
            <ac:grpSpMk id="23" creationId="{AE8B4379-BE05-4278-8275-6B9D2AD202F9}"/>
          </ac:grpSpMkLst>
        </pc:grpChg>
        <pc:grpChg chg="add mod">
          <ac:chgData name="Geoff Bennett" userId="18e2b201-f278-4657-aca6-41509691b92d" providerId="ADAL" clId="{3D1ED20F-48AD-485E-B132-4355CCA9B1DB}" dt="2022-05-06T10:52:51.280" v="1790" actId="164"/>
          <ac:grpSpMkLst>
            <pc:docMk/>
            <pc:sldMk cId="3108097717" sldId="2145706628"/>
            <ac:grpSpMk id="26" creationId="{E1BCE445-4333-4F7C-8E24-79CD48ADD1F7}"/>
          </ac:grpSpMkLst>
        </pc:grpChg>
        <pc:grpChg chg="add del mod">
          <ac:chgData name="Geoff Bennett" userId="18e2b201-f278-4657-aca6-41509691b92d" providerId="ADAL" clId="{3D1ED20F-48AD-485E-B132-4355CCA9B1DB}" dt="2022-05-06T10:55:04.482" v="1909" actId="478"/>
          <ac:grpSpMkLst>
            <pc:docMk/>
            <pc:sldMk cId="3108097717" sldId="2145706628"/>
            <ac:grpSpMk id="29" creationId="{0CD6DF97-036F-4EB6-8D16-0301E9D307FA}"/>
          </ac:grpSpMkLst>
        </pc:grpChg>
        <pc:cxnChg chg="add del mod">
          <ac:chgData name="Geoff Bennett" userId="18e2b201-f278-4657-aca6-41509691b92d" providerId="ADAL" clId="{3D1ED20F-48AD-485E-B132-4355CCA9B1DB}" dt="2022-05-06T10:55:03.169" v="1908" actId="478"/>
          <ac:cxnSpMkLst>
            <pc:docMk/>
            <pc:sldMk cId="3108097717" sldId="2145706628"/>
            <ac:cxnSpMk id="31" creationId="{E5D15074-2BE4-491D-B6B7-A4704ABD4C73}"/>
          </ac:cxnSpMkLst>
        </pc:cxnChg>
      </pc:sldChg>
      <pc:sldChg chg="addSp delSp modSp new mod modAnim">
        <pc:chgData name="Geoff Bennett" userId="18e2b201-f278-4657-aca6-41509691b92d" providerId="ADAL" clId="{3D1ED20F-48AD-485E-B132-4355CCA9B1DB}" dt="2022-09-18T14:43:57.065" v="12147" actId="478"/>
        <pc:sldMkLst>
          <pc:docMk/>
          <pc:sldMk cId="2034895355" sldId="2145706629"/>
        </pc:sldMkLst>
        <pc:spChg chg="mod">
          <ac:chgData name="Geoff Bennett" userId="18e2b201-f278-4657-aca6-41509691b92d" providerId="ADAL" clId="{3D1ED20F-48AD-485E-B132-4355CCA9B1DB}" dt="2022-05-08T15:49:06.651" v="7544" actId="20577"/>
          <ac:spMkLst>
            <pc:docMk/>
            <pc:sldMk cId="2034895355" sldId="2145706629"/>
            <ac:spMk id="2" creationId="{70902F4D-35DA-4763-811A-8777780CC9A2}"/>
          </ac:spMkLst>
        </pc:spChg>
        <pc:spChg chg="add mod">
          <ac:chgData name="Geoff Bennett" userId="18e2b201-f278-4657-aca6-41509691b92d" providerId="ADAL" clId="{3D1ED20F-48AD-485E-B132-4355CCA9B1DB}" dt="2022-09-18T14:34:05.493" v="11675" actId="164"/>
          <ac:spMkLst>
            <pc:docMk/>
            <pc:sldMk cId="2034895355" sldId="2145706629"/>
            <ac:spMk id="3" creationId="{BB783DDC-AEA1-DA36-7FD3-549538F2FC38}"/>
          </ac:spMkLst>
        </pc:spChg>
        <pc:spChg chg="del">
          <ac:chgData name="Geoff Bennett" userId="18e2b201-f278-4657-aca6-41509691b92d" providerId="ADAL" clId="{3D1ED20F-48AD-485E-B132-4355CCA9B1DB}" dt="2022-05-06T11:14:15.899" v="2554" actId="478"/>
          <ac:spMkLst>
            <pc:docMk/>
            <pc:sldMk cId="2034895355" sldId="2145706629"/>
            <ac:spMk id="3" creationId="{CE830A1A-9F6D-45BC-A05D-3C9D100BCF79}"/>
          </ac:spMkLst>
        </pc:spChg>
        <pc:spChg chg="del">
          <ac:chgData name="Geoff Bennett" userId="18e2b201-f278-4657-aca6-41509691b92d" providerId="ADAL" clId="{3D1ED20F-48AD-485E-B132-4355CCA9B1DB}" dt="2022-09-18T14:43:57.065" v="12147" actId="478"/>
          <ac:spMkLst>
            <pc:docMk/>
            <pc:sldMk cId="2034895355" sldId="2145706629"/>
            <ac:spMk id="4" creationId="{1D3976B4-75E6-4BD0-9CA3-F323989D4854}"/>
          </ac:spMkLst>
        </pc:spChg>
        <pc:spChg chg="add del mod">
          <ac:chgData name="Geoff Bennett" userId="18e2b201-f278-4657-aca6-41509691b92d" providerId="ADAL" clId="{3D1ED20F-48AD-485E-B132-4355CCA9B1DB}" dt="2022-05-06T11:24:18.317" v="2652" actId="21"/>
          <ac:spMkLst>
            <pc:docMk/>
            <pc:sldMk cId="2034895355" sldId="2145706629"/>
            <ac:spMk id="5" creationId="{1BFDA3F6-CD51-4F9D-B80A-B5F911FA5960}"/>
          </ac:spMkLst>
        </pc:spChg>
        <pc:spChg chg="mod">
          <ac:chgData name="Geoff Bennett" userId="18e2b201-f278-4657-aca6-41509691b92d" providerId="ADAL" clId="{3D1ED20F-48AD-485E-B132-4355CCA9B1DB}" dt="2022-05-10T08:08:46.745" v="9433" actId="1037"/>
          <ac:spMkLst>
            <pc:docMk/>
            <pc:sldMk cId="2034895355" sldId="2145706629"/>
            <ac:spMk id="7" creationId="{75C18E90-B128-4779-BE3A-41CE4219DD92}"/>
          </ac:spMkLst>
        </pc:spChg>
        <pc:spChg chg="mod">
          <ac:chgData name="Geoff Bennett" userId="18e2b201-f278-4657-aca6-41509691b92d" providerId="ADAL" clId="{3D1ED20F-48AD-485E-B132-4355CCA9B1DB}" dt="2022-05-10T08:08:46.745" v="9433" actId="1037"/>
          <ac:spMkLst>
            <pc:docMk/>
            <pc:sldMk cId="2034895355" sldId="2145706629"/>
            <ac:spMk id="8" creationId="{D3D18012-12DC-4317-9CC0-84ABBCB4EF33}"/>
          </ac:spMkLst>
        </pc:spChg>
        <pc:spChg chg="add mod">
          <ac:chgData name="Geoff Bennett" userId="18e2b201-f278-4657-aca6-41509691b92d" providerId="ADAL" clId="{3D1ED20F-48AD-485E-B132-4355CCA9B1DB}" dt="2022-09-18T14:34:05.493" v="11675" actId="164"/>
          <ac:spMkLst>
            <pc:docMk/>
            <pc:sldMk cId="2034895355" sldId="2145706629"/>
            <ac:spMk id="9" creationId="{6F372151-7707-1B77-3970-FA0A4CC7D7DB}"/>
          </ac:spMkLst>
        </pc:spChg>
        <pc:spChg chg="add mod">
          <ac:chgData name="Geoff Bennett" userId="18e2b201-f278-4657-aca6-41509691b92d" providerId="ADAL" clId="{3D1ED20F-48AD-485E-B132-4355CCA9B1DB}" dt="2022-05-10T08:13:24.627" v="9709" actId="1038"/>
          <ac:spMkLst>
            <pc:docMk/>
            <pc:sldMk cId="2034895355" sldId="2145706629"/>
            <ac:spMk id="10" creationId="{9FFFF1A7-A1F3-4726-16ED-A5F8EFA947DA}"/>
          </ac:spMkLst>
        </pc:spChg>
        <pc:spChg chg="add del mod">
          <ac:chgData name="Geoff Bennett" userId="18e2b201-f278-4657-aca6-41509691b92d" providerId="ADAL" clId="{3D1ED20F-48AD-485E-B132-4355CCA9B1DB}" dt="2022-05-06T11:24:18.317" v="2652" actId="21"/>
          <ac:spMkLst>
            <pc:docMk/>
            <pc:sldMk cId="2034895355" sldId="2145706629"/>
            <ac:spMk id="10" creationId="{D7A28381-EE56-44B3-8A39-E842319F0F98}"/>
          </ac:spMkLst>
        </pc:spChg>
        <pc:grpChg chg="add mod">
          <ac:chgData name="Geoff Bennett" userId="18e2b201-f278-4657-aca6-41509691b92d" providerId="ADAL" clId="{3D1ED20F-48AD-485E-B132-4355CCA9B1DB}" dt="2022-09-18T14:34:05.493" v="11675" actId="164"/>
          <ac:grpSpMkLst>
            <pc:docMk/>
            <pc:sldMk cId="2034895355" sldId="2145706629"/>
            <ac:grpSpMk id="5" creationId="{9A4929AC-7920-73A1-BFC3-A2F67469B445}"/>
          </ac:grpSpMkLst>
        </pc:grpChg>
        <pc:grpChg chg="add mod">
          <ac:chgData name="Geoff Bennett" userId="18e2b201-f278-4657-aca6-41509691b92d" providerId="ADAL" clId="{3D1ED20F-48AD-485E-B132-4355CCA9B1DB}" dt="2022-05-10T08:08:46.745" v="9433" actId="1037"/>
          <ac:grpSpMkLst>
            <pc:docMk/>
            <pc:sldMk cId="2034895355" sldId="2145706629"/>
            <ac:grpSpMk id="6" creationId="{983082EB-18E9-4169-91F6-26727DCE563D}"/>
          </ac:grpSpMkLst>
        </pc:grpChg>
        <pc:picChg chg="add mod">
          <ac:chgData name="Geoff Bennett" userId="18e2b201-f278-4657-aca6-41509691b92d" providerId="ADAL" clId="{3D1ED20F-48AD-485E-B132-4355CCA9B1DB}" dt="2022-05-10T08:08:46.745" v="9433" actId="1037"/>
          <ac:picMkLst>
            <pc:docMk/>
            <pc:sldMk cId="2034895355" sldId="2145706629"/>
            <ac:picMk id="3074" creationId="{85F872DB-BA23-4863-9A0C-BC86A125319C}"/>
          </ac:picMkLst>
        </pc:picChg>
      </pc:sldChg>
      <pc:sldChg chg="addSp delSp modSp new mod modAnim">
        <pc:chgData name="Geoff Bennett" userId="18e2b201-f278-4657-aca6-41509691b92d" providerId="ADAL" clId="{3D1ED20F-48AD-485E-B132-4355CCA9B1DB}" dt="2022-09-18T14:43:59.221" v="12148" actId="478"/>
        <pc:sldMkLst>
          <pc:docMk/>
          <pc:sldMk cId="3524854002" sldId="2145706630"/>
        </pc:sldMkLst>
        <pc:spChg chg="mod">
          <ac:chgData name="Geoff Bennett" userId="18e2b201-f278-4657-aca6-41509691b92d" providerId="ADAL" clId="{3D1ED20F-48AD-485E-B132-4355CCA9B1DB}" dt="2022-05-06T11:23:36.884" v="2644" actId="20577"/>
          <ac:spMkLst>
            <pc:docMk/>
            <pc:sldMk cId="3524854002" sldId="2145706630"/>
            <ac:spMk id="2" creationId="{88689655-A0E2-4AAF-93DF-9E66C1F24833}"/>
          </ac:spMkLst>
        </pc:spChg>
        <pc:spChg chg="del">
          <ac:chgData name="Geoff Bennett" userId="18e2b201-f278-4657-aca6-41509691b92d" providerId="ADAL" clId="{3D1ED20F-48AD-485E-B132-4355CCA9B1DB}" dt="2022-05-06T11:23:39.384" v="2645" actId="478"/>
          <ac:spMkLst>
            <pc:docMk/>
            <pc:sldMk cId="3524854002" sldId="2145706630"/>
            <ac:spMk id="3" creationId="{1ABD7A50-F71F-4666-8A0A-27AAAF0F6B6B}"/>
          </ac:spMkLst>
        </pc:spChg>
        <pc:spChg chg="del">
          <ac:chgData name="Geoff Bennett" userId="18e2b201-f278-4657-aca6-41509691b92d" providerId="ADAL" clId="{3D1ED20F-48AD-485E-B132-4355CCA9B1DB}" dt="2022-09-18T14:43:59.221" v="12148" actId="478"/>
          <ac:spMkLst>
            <pc:docMk/>
            <pc:sldMk cId="3524854002" sldId="2145706630"/>
            <ac:spMk id="4" creationId="{81BBF831-5116-4838-9E8F-D27A771C1A09}"/>
          </ac:spMkLst>
        </pc:spChg>
        <pc:spChg chg="add mod">
          <ac:chgData name="Geoff Bennett" userId="18e2b201-f278-4657-aca6-41509691b92d" providerId="ADAL" clId="{3D1ED20F-48AD-485E-B132-4355CCA9B1DB}" dt="2022-05-06T12:04:13.075" v="2925" actId="20577"/>
          <ac:spMkLst>
            <pc:docMk/>
            <pc:sldMk cId="3524854002" sldId="2145706630"/>
            <ac:spMk id="5" creationId="{7E335247-0D51-418D-9182-215EEE7C6061}"/>
          </ac:spMkLst>
        </pc:spChg>
        <pc:spChg chg="add mod">
          <ac:chgData name="Geoff Bennett" userId="18e2b201-f278-4657-aca6-41509691b92d" providerId="ADAL" clId="{3D1ED20F-48AD-485E-B132-4355CCA9B1DB}" dt="2022-05-06T12:04:30.551" v="2932" actId="20577"/>
          <ac:spMkLst>
            <pc:docMk/>
            <pc:sldMk cId="3524854002" sldId="2145706630"/>
            <ac:spMk id="6" creationId="{1DDD7C05-BBD7-4978-80BF-CB31E0C1267C}"/>
          </ac:spMkLst>
        </pc:spChg>
        <pc:spChg chg="add mod topLvl">
          <ac:chgData name="Geoff Bennett" userId="18e2b201-f278-4657-aca6-41509691b92d" providerId="ADAL" clId="{3D1ED20F-48AD-485E-B132-4355CCA9B1DB}" dt="2022-05-06T12:04:07.283" v="2921" actId="21"/>
          <ac:spMkLst>
            <pc:docMk/>
            <pc:sldMk cId="3524854002" sldId="2145706630"/>
            <ac:spMk id="8" creationId="{62C14CE2-6B16-4090-8B02-2F8EABA46C40}"/>
          </ac:spMkLst>
        </pc:spChg>
        <pc:spChg chg="add del mod topLvl">
          <ac:chgData name="Geoff Bennett" userId="18e2b201-f278-4657-aca6-41509691b92d" providerId="ADAL" clId="{3D1ED20F-48AD-485E-B132-4355CCA9B1DB}" dt="2022-05-06T12:04:22.873" v="2926" actId="478"/>
          <ac:spMkLst>
            <pc:docMk/>
            <pc:sldMk cId="3524854002" sldId="2145706630"/>
            <ac:spMk id="9" creationId="{5CDD8B9C-0380-4E2F-863D-332C522AEF40}"/>
          </ac:spMkLst>
        </pc:spChg>
        <pc:spChg chg="add mod topLvl">
          <ac:chgData name="Geoff Bennett" userId="18e2b201-f278-4657-aca6-41509691b92d" providerId="ADAL" clId="{3D1ED20F-48AD-485E-B132-4355CCA9B1DB}" dt="2022-09-18T14:34:27.158" v="11679" actId="164"/>
          <ac:spMkLst>
            <pc:docMk/>
            <pc:sldMk cId="3524854002" sldId="2145706630"/>
            <ac:spMk id="10" creationId="{9DD1B0D6-29E1-4E2D-BB32-B3C0C0BEF6A1}"/>
          </ac:spMkLst>
        </pc:spChg>
        <pc:spChg chg="add mod topLvl">
          <ac:chgData name="Geoff Bennett" userId="18e2b201-f278-4657-aca6-41509691b92d" providerId="ADAL" clId="{3D1ED20F-48AD-485E-B132-4355CCA9B1DB}" dt="2022-09-18T14:34:27.158" v="11679" actId="164"/>
          <ac:spMkLst>
            <pc:docMk/>
            <pc:sldMk cId="3524854002" sldId="2145706630"/>
            <ac:spMk id="11" creationId="{49E3AA31-D607-415F-A45E-2B701AAD1E2B}"/>
          </ac:spMkLst>
        </pc:spChg>
        <pc:spChg chg="mod">
          <ac:chgData name="Geoff Bennett" userId="18e2b201-f278-4657-aca6-41509691b92d" providerId="ADAL" clId="{3D1ED20F-48AD-485E-B132-4355CCA9B1DB}" dt="2022-05-06T12:05:06.977" v="2937" actId="20577"/>
          <ac:spMkLst>
            <pc:docMk/>
            <pc:sldMk cId="3524854002" sldId="2145706630"/>
            <ac:spMk id="13" creationId="{79CCAAEC-A70A-4C90-8874-5F880F2B5D32}"/>
          </ac:spMkLst>
        </pc:spChg>
        <pc:spChg chg="mod">
          <ac:chgData name="Geoff Bennett" userId="18e2b201-f278-4657-aca6-41509691b92d" providerId="ADAL" clId="{3D1ED20F-48AD-485E-B132-4355CCA9B1DB}" dt="2022-05-06T12:05:18.175" v="2942" actId="20577"/>
          <ac:spMkLst>
            <pc:docMk/>
            <pc:sldMk cId="3524854002" sldId="2145706630"/>
            <ac:spMk id="14" creationId="{99C379E7-5DDD-4D2B-9DE7-DC8B6F3F5248}"/>
          </ac:spMkLst>
        </pc:spChg>
        <pc:spChg chg="add mod">
          <ac:chgData name="Geoff Bennett" userId="18e2b201-f278-4657-aca6-41509691b92d" providerId="ADAL" clId="{3D1ED20F-48AD-485E-B132-4355CCA9B1DB}" dt="2022-05-06T12:04:56.708" v="2933" actId="21"/>
          <ac:spMkLst>
            <pc:docMk/>
            <pc:sldMk cId="3524854002" sldId="2145706630"/>
            <ac:spMk id="15" creationId="{FB544EBF-0B7D-4B79-8ACC-AE3CFE8F8A62}"/>
          </ac:spMkLst>
        </pc:spChg>
        <pc:spChg chg="add del mod">
          <ac:chgData name="Geoff Bennett" userId="18e2b201-f278-4657-aca6-41509691b92d" providerId="ADAL" clId="{3D1ED20F-48AD-485E-B132-4355CCA9B1DB}" dt="2022-05-06T12:05:12.524" v="2938" actId="478"/>
          <ac:spMkLst>
            <pc:docMk/>
            <pc:sldMk cId="3524854002" sldId="2145706630"/>
            <ac:spMk id="16" creationId="{04C8E601-48FB-423C-A483-A72C0CBAA478}"/>
          </ac:spMkLst>
        </pc:spChg>
        <pc:spChg chg="add mod">
          <ac:chgData name="Geoff Bennett" userId="18e2b201-f278-4657-aca6-41509691b92d" providerId="ADAL" clId="{3D1ED20F-48AD-485E-B132-4355CCA9B1DB}" dt="2022-09-18T14:34:31.004" v="11680" actId="164"/>
          <ac:spMkLst>
            <pc:docMk/>
            <pc:sldMk cId="3524854002" sldId="2145706630"/>
            <ac:spMk id="17" creationId="{50EEDE9A-29C9-47B1-ADAF-D41727D1E55F}"/>
          </ac:spMkLst>
        </pc:spChg>
        <pc:spChg chg="add mod">
          <ac:chgData name="Geoff Bennett" userId="18e2b201-f278-4657-aca6-41509691b92d" providerId="ADAL" clId="{3D1ED20F-48AD-485E-B132-4355CCA9B1DB}" dt="2022-09-18T14:34:31.004" v="11680" actId="164"/>
          <ac:spMkLst>
            <pc:docMk/>
            <pc:sldMk cId="3524854002" sldId="2145706630"/>
            <ac:spMk id="18" creationId="{EA1C9782-F6A8-41BA-A9C7-517D590E85A8}"/>
          </ac:spMkLst>
        </pc:spChg>
        <pc:spChg chg="add mod">
          <ac:chgData name="Geoff Bennett" userId="18e2b201-f278-4657-aca6-41509691b92d" providerId="ADAL" clId="{3D1ED20F-48AD-485E-B132-4355CCA9B1DB}" dt="2022-05-06T11:26:28.355" v="2738"/>
          <ac:spMkLst>
            <pc:docMk/>
            <pc:sldMk cId="3524854002" sldId="2145706630"/>
            <ac:spMk id="19" creationId="{4BD31058-A5C0-4040-99BE-FFF8EF62DB5F}"/>
          </ac:spMkLst>
        </pc:spChg>
        <pc:spChg chg="add mod">
          <ac:chgData name="Geoff Bennett" userId="18e2b201-f278-4657-aca6-41509691b92d" providerId="ADAL" clId="{3D1ED20F-48AD-485E-B132-4355CCA9B1DB}" dt="2022-05-06T12:03:46.151" v="2920" actId="165"/>
          <ac:spMkLst>
            <pc:docMk/>
            <pc:sldMk cId="3524854002" sldId="2145706630"/>
            <ac:spMk id="20" creationId="{6016191A-45C8-4ACE-9356-16F180C0ABB5}"/>
          </ac:spMkLst>
        </pc:spChg>
        <pc:spChg chg="add mod">
          <ac:chgData name="Geoff Bennett" userId="18e2b201-f278-4657-aca6-41509691b92d" providerId="ADAL" clId="{3D1ED20F-48AD-485E-B132-4355CCA9B1DB}" dt="2022-05-06T12:03:46.151" v="2920" actId="165"/>
          <ac:spMkLst>
            <pc:docMk/>
            <pc:sldMk cId="3524854002" sldId="2145706630"/>
            <ac:spMk id="21" creationId="{4BA42968-CCC2-4201-997F-E874EC8D76E2}"/>
          </ac:spMkLst>
        </pc:spChg>
        <pc:spChg chg="add del">
          <ac:chgData name="Geoff Bennett" userId="18e2b201-f278-4657-aca6-41509691b92d" providerId="ADAL" clId="{3D1ED20F-48AD-485E-B132-4355CCA9B1DB}" dt="2022-05-06T12:05:02.754" v="2935" actId="22"/>
          <ac:spMkLst>
            <pc:docMk/>
            <pc:sldMk cId="3524854002" sldId="2145706630"/>
            <ac:spMk id="28" creationId="{703D062B-0998-4179-9DFB-25FC762BD1C0}"/>
          </ac:spMkLst>
        </pc:spChg>
        <pc:grpChg chg="add mod">
          <ac:chgData name="Geoff Bennett" userId="18e2b201-f278-4657-aca6-41509691b92d" providerId="ADAL" clId="{3D1ED20F-48AD-485E-B132-4355CCA9B1DB}" dt="2022-09-18T14:34:27.158" v="11679" actId="164"/>
          <ac:grpSpMkLst>
            <pc:docMk/>
            <pc:sldMk cId="3524854002" sldId="2145706630"/>
            <ac:grpSpMk id="3" creationId="{B9D5D30F-A929-144D-2FCB-7181C7D32FEE}"/>
          </ac:grpSpMkLst>
        </pc:grpChg>
        <pc:grpChg chg="add mod topLvl">
          <ac:chgData name="Geoff Bennett" userId="18e2b201-f278-4657-aca6-41509691b92d" providerId="ADAL" clId="{3D1ED20F-48AD-485E-B132-4355CCA9B1DB}" dt="2022-05-06T12:03:46.151" v="2920" actId="165"/>
          <ac:grpSpMkLst>
            <pc:docMk/>
            <pc:sldMk cId="3524854002" sldId="2145706630"/>
            <ac:grpSpMk id="7" creationId="{EF4189B8-77C4-4053-BEF4-8150A9BF2401}"/>
          </ac:grpSpMkLst>
        </pc:grpChg>
        <pc:grpChg chg="add mod">
          <ac:chgData name="Geoff Bennett" userId="18e2b201-f278-4657-aca6-41509691b92d" providerId="ADAL" clId="{3D1ED20F-48AD-485E-B132-4355CCA9B1DB}" dt="2022-09-18T14:34:31.004" v="11680" actId="164"/>
          <ac:grpSpMkLst>
            <pc:docMk/>
            <pc:sldMk cId="3524854002" sldId="2145706630"/>
            <ac:grpSpMk id="9" creationId="{23C2521E-5961-D921-F1AB-6C4478E9BDCD}"/>
          </ac:grpSpMkLst>
        </pc:grpChg>
        <pc:grpChg chg="add mod">
          <ac:chgData name="Geoff Bennett" userId="18e2b201-f278-4657-aca6-41509691b92d" providerId="ADAL" clId="{3D1ED20F-48AD-485E-B132-4355CCA9B1DB}" dt="2022-05-06T12:03:46.151" v="2920" actId="165"/>
          <ac:grpSpMkLst>
            <pc:docMk/>
            <pc:sldMk cId="3524854002" sldId="2145706630"/>
            <ac:grpSpMk id="12" creationId="{A42CF12A-63D1-4BB2-86C6-EF21C3A028CA}"/>
          </ac:grpSpMkLst>
        </pc:grpChg>
        <pc:grpChg chg="add mod ord">
          <ac:chgData name="Geoff Bennett" userId="18e2b201-f278-4657-aca6-41509691b92d" providerId="ADAL" clId="{3D1ED20F-48AD-485E-B132-4355CCA9B1DB}" dt="2022-05-06T12:03:46.151" v="2920" actId="165"/>
          <ac:grpSpMkLst>
            <pc:docMk/>
            <pc:sldMk cId="3524854002" sldId="2145706630"/>
            <ac:grpSpMk id="22" creationId="{259DC1AF-2334-4F0B-A0DC-5FFC6B3F5471}"/>
          </ac:grpSpMkLst>
        </pc:grpChg>
        <pc:grpChg chg="add del mod">
          <ac:chgData name="Geoff Bennett" userId="18e2b201-f278-4657-aca6-41509691b92d" providerId="ADAL" clId="{3D1ED20F-48AD-485E-B132-4355CCA9B1DB}" dt="2022-05-06T12:03:13.599" v="2912" actId="165"/>
          <ac:grpSpMkLst>
            <pc:docMk/>
            <pc:sldMk cId="3524854002" sldId="2145706630"/>
            <ac:grpSpMk id="23" creationId="{ECF152F3-7D99-4AFF-A076-C8451374AAF7}"/>
          </ac:grpSpMkLst>
        </pc:grpChg>
        <pc:grpChg chg="add mod topLvl">
          <ac:chgData name="Geoff Bennett" userId="18e2b201-f278-4657-aca6-41509691b92d" providerId="ADAL" clId="{3D1ED20F-48AD-485E-B132-4355CCA9B1DB}" dt="2022-09-18T14:34:31.004" v="11680" actId="164"/>
          <ac:grpSpMkLst>
            <pc:docMk/>
            <pc:sldMk cId="3524854002" sldId="2145706630"/>
            <ac:grpSpMk id="24" creationId="{84947110-077D-43E1-A991-46B1B5015A40}"/>
          </ac:grpSpMkLst>
        </pc:grpChg>
        <pc:grpChg chg="add del mod topLvl">
          <ac:chgData name="Geoff Bennett" userId="18e2b201-f278-4657-aca6-41509691b92d" providerId="ADAL" clId="{3D1ED20F-48AD-485E-B132-4355CCA9B1DB}" dt="2022-09-18T14:34:27.158" v="11679" actId="164"/>
          <ac:grpSpMkLst>
            <pc:docMk/>
            <pc:sldMk cId="3524854002" sldId="2145706630"/>
            <ac:grpSpMk id="25" creationId="{B53BDB1E-0BD4-445A-A48D-8164261EC9EE}"/>
          </ac:grpSpMkLst>
        </pc:grpChg>
        <pc:grpChg chg="add del mod">
          <ac:chgData name="Geoff Bennett" userId="18e2b201-f278-4657-aca6-41509691b92d" providerId="ADAL" clId="{3D1ED20F-48AD-485E-B132-4355CCA9B1DB}" dt="2022-05-06T12:03:46.151" v="2920" actId="165"/>
          <ac:grpSpMkLst>
            <pc:docMk/>
            <pc:sldMk cId="3524854002" sldId="2145706630"/>
            <ac:grpSpMk id="26" creationId="{F5AC3F81-7898-44C8-8715-08DD4A78F949}"/>
          </ac:grpSpMkLst>
        </pc:grpChg>
        <pc:cxnChg chg="add mod">
          <ac:chgData name="Geoff Bennett" userId="18e2b201-f278-4657-aca6-41509691b92d" providerId="ADAL" clId="{3D1ED20F-48AD-485E-B132-4355CCA9B1DB}" dt="2022-09-18T14:34:31.004" v="11680" actId="164"/>
          <ac:cxnSpMkLst>
            <pc:docMk/>
            <pc:sldMk cId="3524854002" sldId="2145706630"/>
            <ac:cxnSpMk id="30" creationId="{14276A2B-ABAC-48ED-B4B4-F0DBB5DCB43F}"/>
          </ac:cxnSpMkLst>
        </pc:cxnChg>
        <pc:cxnChg chg="add mod">
          <ac:chgData name="Geoff Bennett" userId="18e2b201-f278-4657-aca6-41509691b92d" providerId="ADAL" clId="{3D1ED20F-48AD-485E-B132-4355CCA9B1DB}" dt="2022-09-18T14:34:31.004" v="11680" actId="164"/>
          <ac:cxnSpMkLst>
            <pc:docMk/>
            <pc:sldMk cId="3524854002" sldId="2145706630"/>
            <ac:cxnSpMk id="32" creationId="{A8FA92AC-B65D-4761-BBEA-A87C2851FFD5}"/>
          </ac:cxnSpMkLst>
        </pc:cxnChg>
        <pc:cxnChg chg="add mod">
          <ac:chgData name="Geoff Bennett" userId="18e2b201-f278-4657-aca6-41509691b92d" providerId="ADAL" clId="{3D1ED20F-48AD-485E-B132-4355CCA9B1DB}" dt="2022-09-18T14:34:27.158" v="11679" actId="164"/>
          <ac:cxnSpMkLst>
            <pc:docMk/>
            <pc:sldMk cId="3524854002" sldId="2145706630"/>
            <ac:cxnSpMk id="33" creationId="{E824CEBE-4786-4AFC-A8FA-FEAEE5883D0B}"/>
          </ac:cxnSpMkLst>
        </pc:cxnChg>
        <pc:cxnChg chg="add mod">
          <ac:chgData name="Geoff Bennett" userId="18e2b201-f278-4657-aca6-41509691b92d" providerId="ADAL" clId="{3D1ED20F-48AD-485E-B132-4355CCA9B1DB}" dt="2022-09-18T14:34:27.158" v="11679" actId="164"/>
          <ac:cxnSpMkLst>
            <pc:docMk/>
            <pc:sldMk cId="3524854002" sldId="2145706630"/>
            <ac:cxnSpMk id="35" creationId="{2546F8FC-7CA3-4843-923E-7B7CC5D5E918}"/>
          </ac:cxnSpMkLst>
        </pc:cxnChg>
      </pc:sldChg>
      <pc:sldChg chg="addSp delSp modSp new mod modAnim">
        <pc:chgData name="Geoff Bennett" userId="18e2b201-f278-4657-aca6-41509691b92d" providerId="ADAL" clId="{3D1ED20F-48AD-485E-B132-4355CCA9B1DB}" dt="2022-09-18T14:44:01.309" v="12149" actId="478"/>
        <pc:sldMkLst>
          <pc:docMk/>
          <pc:sldMk cId="4258401908" sldId="2145706631"/>
        </pc:sldMkLst>
        <pc:spChg chg="mod">
          <ac:chgData name="Geoff Bennett" userId="18e2b201-f278-4657-aca6-41509691b92d" providerId="ADAL" clId="{3D1ED20F-48AD-485E-B132-4355CCA9B1DB}" dt="2022-05-06T12:10:28.582" v="3261" actId="20577"/>
          <ac:spMkLst>
            <pc:docMk/>
            <pc:sldMk cId="4258401908" sldId="2145706631"/>
            <ac:spMk id="2" creationId="{D9887BF9-1A4A-432F-8E8C-A46E7ECCDFA5}"/>
          </ac:spMkLst>
        </pc:spChg>
        <pc:spChg chg="del">
          <ac:chgData name="Geoff Bennett" userId="18e2b201-f278-4657-aca6-41509691b92d" providerId="ADAL" clId="{3D1ED20F-48AD-485E-B132-4355CCA9B1DB}" dt="2022-05-06T12:10:33.068" v="3262" actId="478"/>
          <ac:spMkLst>
            <pc:docMk/>
            <pc:sldMk cId="4258401908" sldId="2145706631"/>
            <ac:spMk id="3" creationId="{8A16075D-3FA5-412B-9400-0D8FF8E1AE10}"/>
          </ac:spMkLst>
        </pc:spChg>
        <pc:spChg chg="del">
          <ac:chgData name="Geoff Bennett" userId="18e2b201-f278-4657-aca6-41509691b92d" providerId="ADAL" clId="{3D1ED20F-48AD-485E-B132-4355CCA9B1DB}" dt="2022-09-18T14:44:01.309" v="12149" actId="478"/>
          <ac:spMkLst>
            <pc:docMk/>
            <pc:sldMk cId="4258401908" sldId="2145706631"/>
            <ac:spMk id="4" creationId="{A789054A-9161-4DF5-BA09-BCC364E3A445}"/>
          </ac:spMkLst>
        </pc:spChg>
        <pc:spChg chg="mod">
          <ac:chgData name="Geoff Bennett" userId="18e2b201-f278-4657-aca6-41509691b92d" providerId="ADAL" clId="{3D1ED20F-48AD-485E-B132-4355CCA9B1DB}" dt="2022-05-06T12:10:59.782" v="3263"/>
          <ac:spMkLst>
            <pc:docMk/>
            <pc:sldMk cId="4258401908" sldId="2145706631"/>
            <ac:spMk id="8" creationId="{707135C0-CAF1-464A-BB09-6D42682A2B7D}"/>
          </ac:spMkLst>
        </pc:spChg>
        <pc:spChg chg="mod">
          <ac:chgData name="Geoff Bennett" userId="18e2b201-f278-4657-aca6-41509691b92d" providerId="ADAL" clId="{3D1ED20F-48AD-485E-B132-4355CCA9B1DB}" dt="2022-05-06T12:10:59.782" v="3263"/>
          <ac:spMkLst>
            <pc:docMk/>
            <pc:sldMk cId="4258401908" sldId="2145706631"/>
            <ac:spMk id="9" creationId="{784318CF-6332-46D7-8F8F-A0A45201F98A}"/>
          </ac:spMkLst>
        </pc:spChg>
        <pc:spChg chg="mod">
          <ac:chgData name="Geoff Bennett" userId="18e2b201-f278-4657-aca6-41509691b92d" providerId="ADAL" clId="{3D1ED20F-48AD-485E-B132-4355CCA9B1DB}" dt="2022-05-06T12:10:59.782" v="3263"/>
          <ac:spMkLst>
            <pc:docMk/>
            <pc:sldMk cId="4258401908" sldId="2145706631"/>
            <ac:spMk id="10" creationId="{5E5D4D7F-283B-45E0-970E-1C1BB2C746D9}"/>
          </ac:spMkLst>
        </pc:spChg>
        <pc:spChg chg="mod">
          <ac:chgData name="Geoff Bennett" userId="18e2b201-f278-4657-aca6-41509691b92d" providerId="ADAL" clId="{3D1ED20F-48AD-485E-B132-4355CCA9B1DB}" dt="2022-05-06T12:10:59.782" v="3263"/>
          <ac:spMkLst>
            <pc:docMk/>
            <pc:sldMk cId="4258401908" sldId="2145706631"/>
            <ac:spMk id="11" creationId="{D3C95CCB-0D93-429D-8A24-95A6D3641325}"/>
          </ac:spMkLst>
        </pc:spChg>
        <pc:spChg chg="mod">
          <ac:chgData name="Geoff Bennett" userId="18e2b201-f278-4657-aca6-41509691b92d" providerId="ADAL" clId="{3D1ED20F-48AD-485E-B132-4355CCA9B1DB}" dt="2022-05-06T12:10:59.782" v="3263"/>
          <ac:spMkLst>
            <pc:docMk/>
            <pc:sldMk cId="4258401908" sldId="2145706631"/>
            <ac:spMk id="12" creationId="{D9E32F32-66B6-4BD7-A62B-0498F06B1094}"/>
          </ac:spMkLst>
        </pc:spChg>
        <pc:spChg chg="add mod">
          <ac:chgData name="Geoff Bennett" userId="18e2b201-f278-4657-aca6-41509691b92d" providerId="ADAL" clId="{3D1ED20F-48AD-485E-B132-4355CCA9B1DB}" dt="2022-05-06T12:14:50.591" v="3371" actId="164"/>
          <ac:spMkLst>
            <pc:docMk/>
            <pc:sldMk cId="4258401908" sldId="2145706631"/>
            <ac:spMk id="13" creationId="{8600C56B-E336-4322-B0BF-F90D90559CD6}"/>
          </ac:spMkLst>
        </pc:spChg>
        <pc:spChg chg="add mod">
          <ac:chgData name="Geoff Bennett" userId="18e2b201-f278-4657-aca6-41509691b92d" providerId="ADAL" clId="{3D1ED20F-48AD-485E-B132-4355CCA9B1DB}" dt="2022-05-06T12:14:50.591" v="3371" actId="164"/>
          <ac:spMkLst>
            <pc:docMk/>
            <pc:sldMk cId="4258401908" sldId="2145706631"/>
            <ac:spMk id="16" creationId="{2BFF1001-A0CC-4868-A646-F1D07E069A08}"/>
          </ac:spMkLst>
        </pc:spChg>
        <pc:spChg chg="mod">
          <ac:chgData name="Geoff Bennett" userId="18e2b201-f278-4657-aca6-41509691b92d" providerId="ADAL" clId="{3D1ED20F-48AD-485E-B132-4355CCA9B1DB}" dt="2022-05-06T12:11:47.587" v="3326"/>
          <ac:spMkLst>
            <pc:docMk/>
            <pc:sldMk cId="4258401908" sldId="2145706631"/>
            <ac:spMk id="20" creationId="{D8C98A63-0B7E-4B1F-88C1-C769C94E8A63}"/>
          </ac:spMkLst>
        </pc:spChg>
        <pc:spChg chg="mod">
          <ac:chgData name="Geoff Bennett" userId="18e2b201-f278-4657-aca6-41509691b92d" providerId="ADAL" clId="{3D1ED20F-48AD-485E-B132-4355CCA9B1DB}" dt="2022-05-06T12:11:47.587" v="3326"/>
          <ac:spMkLst>
            <pc:docMk/>
            <pc:sldMk cId="4258401908" sldId="2145706631"/>
            <ac:spMk id="21" creationId="{BE559517-E65A-4045-A79F-E6CD628544FD}"/>
          </ac:spMkLst>
        </pc:spChg>
        <pc:spChg chg="mod">
          <ac:chgData name="Geoff Bennett" userId="18e2b201-f278-4657-aca6-41509691b92d" providerId="ADAL" clId="{3D1ED20F-48AD-485E-B132-4355CCA9B1DB}" dt="2022-05-06T12:11:47.587" v="3326"/>
          <ac:spMkLst>
            <pc:docMk/>
            <pc:sldMk cId="4258401908" sldId="2145706631"/>
            <ac:spMk id="22" creationId="{48A5E0B7-2F83-4A3B-ABCE-A18A313EE6A1}"/>
          </ac:spMkLst>
        </pc:spChg>
        <pc:spChg chg="mod">
          <ac:chgData name="Geoff Bennett" userId="18e2b201-f278-4657-aca6-41509691b92d" providerId="ADAL" clId="{3D1ED20F-48AD-485E-B132-4355CCA9B1DB}" dt="2022-05-06T12:11:47.587" v="3326"/>
          <ac:spMkLst>
            <pc:docMk/>
            <pc:sldMk cId="4258401908" sldId="2145706631"/>
            <ac:spMk id="23" creationId="{3BEC2AB8-EBC3-4AAF-8174-919727767D7F}"/>
          </ac:spMkLst>
        </pc:spChg>
        <pc:spChg chg="mod">
          <ac:chgData name="Geoff Bennett" userId="18e2b201-f278-4657-aca6-41509691b92d" providerId="ADAL" clId="{3D1ED20F-48AD-485E-B132-4355CCA9B1DB}" dt="2022-05-06T12:11:47.587" v="3326"/>
          <ac:spMkLst>
            <pc:docMk/>
            <pc:sldMk cId="4258401908" sldId="2145706631"/>
            <ac:spMk id="24" creationId="{73ECF6CC-2178-450C-99E8-087DCB8AEBDB}"/>
          </ac:spMkLst>
        </pc:spChg>
        <pc:spChg chg="add mod">
          <ac:chgData name="Geoff Bennett" userId="18e2b201-f278-4657-aca6-41509691b92d" providerId="ADAL" clId="{3D1ED20F-48AD-485E-B132-4355CCA9B1DB}" dt="2022-05-06T12:14:57.966" v="3372" actId="164"/>
          <ac:spMkLst>
            <pc:docMk/>
            <pc:sldMk cId="4258401908" sldId="2145706631"/>
            <ac:spMk id="25" creationId="{424D8ABC-8C90-43C3-8E25-4AA183DA4EF9}"/>
          </ac:spMkLst>
        </pc:spChg>
        <pc:spChg chg="mod">
          <ac:chgData name="Geoff Bennett" userId="18e2b201-f278-4657-aca6-41509691b92d" providerId="ADAL" clId="{3D1ED20F-48AD-485E-B132-4355CCA9B1DB}" dt="2022-05-06T12:11:52.300" v="3328"/>
          <ac:spMkLst>
            <pc:docMk/>
            <pc:sldMk cId="4258401908" sldId="2145706631"/>
            <ac:spMk id="30" creationId="{B04ECC7B-06C2-42A5-8AAC-D2D49FC0C68A}"/>
          </ac:spMkLst>
        </pc:spChg>
        <pc:spChg chg="mod">
          <ac:chgData name="Geoff Bennett" userId="18e2b201-f278-4657-aca6-41509691b92d" providerId="ADAL" clId="{3D1ED20F-48AD-485E-B132-4355CCA9B1DB}" dt="2022-05-06T12:11:52.300" v="3328"/>
          <ac:spMkLst>
            <pc:docMk/>
            <pc:sldMk cId="4258401908" sldId="2145706631"/>
            <ac:spMk id="31" creationId="{707F617D-7AFA-45B9-A420-DF0989B4B9CA}"/>
          </ac:spMkLst>
        </pc:spChg>
        <pc:spChg chg="mod">
          <ac:chgData name="Geoff Bennett" userId="18e2b201-f278-4657-aca6-41509691b92d" providerId="ADAL" clId="{3D1ED20F-48AD-485E-B132-4355CCA9B1DB}" dt="2022-05-06T12:11:52.300" v="3328"/>
          <ac:spMkLst>
            <pc:docMk/>
            <pc:sldMk cId="4258401908" sldId="2145706631"/>
            <ac:spMk id="32" creationId="{D4D2E05F-5F9A-4E2E-A47D-7716AFFEF5E9}"/>
          </ac:spMkLst>
        </pc:spChg>
        <pc:spChg chg="mod">
          <ac:chgData name="Geoff Bennett" userId="18e2b201-f278-4657-aca6-41509691b92d" providerId="ADAL" clId="{3D1ED20F-48AD-485E-B132-4355CCA9B1DB}" dt="2022-05-06T12:11:52.300" v="3328"/>
          <ac:spMkLst>
            <pc:docMk/>
            <pc:sldMk cId="4258401908" sldId="2145706631"/>
            <ac:spMk id="33" creationId="{9C65F00F-BEB1-4A92-A7EB-79EDDA3D54A4}"/>
          </ac:spMkLst>
        </pc:spChg>
        <pc:spChg chg="mod">
          <ac:chgData name="Geoff Bennett" userId="18e2b201-f278-4657-aca6-41509691b92d" providerId="ADAL" clId="{3D1ED20F-48AD-485E-B132-4355CCA9B1DB}" dt="2022-05-06T12:11:52.300" v="3328"/>
          <ac:spMkLst>
            <pc:docMk/>
            <pc:sldMk cId="4258401908" sldId="2145706631"/>
            <ac:spMk id="34" creationId="{269938B3-2017-47C3-9251-AFFF638DF2D2}"/>
          </ac:spMkLst>
        </pc:spChg>
        <pc:spChg chg="add mod">
          <ac:chgData name="Geoff Bennett" userId="18e2b201-f278-4657-aca6-41509691b92d" providerId="ADAL" clId="{3D1ED20F-48AD-485E-B132-4355CCA9B1DB}" dt="2022-05-06T12:15:03.441" v="3373" actId="164"/>
          <ac:spMkLst>
            <pc:docMk/>
            <pc:sldMk cId="4258401908" sldId="2145706631"/>
            <ac:spMk id="35" creationId="{3B248C9A-BD1F-46E0-B635-AF381040B5EF}"/>
          </ac:spMkLst>
        </pc:spChg>
        <pc:spChg chg="add mod">
          <ac:chgData name="Geoff Bennett" userId="18e2b201-f278-4657-aca6-41509691b92d" providerId="ADAL" clId="{3D1ED20F-48AD-485E-B132-4355CCA9B1DB}" dt="2022-05-06T12:14:57.966" v="3372" actId="164"/>
          <ac:spMkLst>
            <pc:docMk/>
            <pc:sldMk cId="4258401908" sldId="2145706631"/>
            <ac:spMk id="37" creationId="{B3ED4B0C-C9FF-44C5-A9A2-BB289A7F0D1F}"/>
          </ac:spMkLst>
        </pc:spChg>
        <pc:spChg chg="add mod">
          <ac:chgData name="Geoff Bennett" userId="18e2b201-f278-4657-aca6-41509691b92d" providerId="ADAL" clId="{3D1ED20F-48AD-485E-B132-4355CCA9B1DB}" dt="2022-05-06T12:15:03.441" v="3373" actId="164"/>
          <ac:spMkLst>
            <pc:docMk/>
            <pc:sldMk cId="4258401908" sldId="2145706631"/>
            <ac:spMk id="38" creationId="{828C11AE-06D3-4182-9F4C-FF43BFFA7213}"/>
          </ac:spMkLst>
        </pc:spChg>
        <pc:grpChg chg="add mod">
          <ac:chgData name="Geoff Bennett" userId="18e2b201-f278-4657-aca6-41509691b92d" providerId="ADAL" clId="{3D1ED20F-48AD-485E-B132-4355CCA9B1DB}" dt="2022-05-06T12:14:50.591" v="3371" actId="164"/>
          <ac:grpSpMkLst>
            <pc:docMk/>
            <pc:sldMk cId="4258401908" sldId="2145706631"/>
            <ac:grpSpMk id="5" creationId="{DB56E455-420A-42A0-8F47-FF6A90A6A319}"/>
          </ac:grpSpMkLst>
        </pc:grpChg>
        <pc:grpChg chg="mod">
          <ac:chgData name="Geoff Bennett" userId="18e2b201-f278-4657-aca6-41509691b92d" providerId="ADAL" clId="{3D1ED20F-48AD-485E-B132-4355CCA9B1DB}" dt="2022-05-06T12:10:59.782" v="3263"/>
          <ac:grpSpMkLst>
            <pc:docMk/>
            <pc:sldMk cId="4258401908" sldId="2145706631"/>
            <ac:grpSpMk id="6" creationId="{844C9595-A6AB-4FBB-92DC-359A3451118A}"/>
          </ac:grpSpMkLst>
        </pc:grpChg>
        <pc:grpChg chg="mod">
          <ac:chgData name="Geoff Bennett" userId="18e2b201-f278-4657-aca6-41509691b92d" providerId="ADAL" clId="{3D1ED20F-48AD-485E-B132-4355CCA9B1DB}" dt="2022-05-06T12:10:59.782" v="3263"/>
          <ac:grpSpMkLst>
            <pc:docMk/>
            <pc:sldMk cId="4258401908" sldId="2145706631"/>
            <ac:grpSpMk id="7" creationId="{F42DB70C-808C-47E5-BE5A-17E3A57137B6}"/>
          </ac:grpSpMkLst>
        </pc:grpChg>
        <pc:grpChg chg="add mod">
          <ac:chgData name="Geoff Bennett" userId="18e2b201-f278-4657-aca6-41509691b92d" providerId="ADAL" clId="{3D1ED20F-48AD-485E-B132-4355CCA9B1DB}" dt="2022-05-06T12:14:57.966" v="3372" actId="164"/>
          <ac:grpSpMkLst>
            <pc:docMk/>
            <pc:sldMk cId="4258401908" sldId="2145706631"/>
            <ac:grpSpMk id="17" creationId="{E4047033-9EAB-498D-A346-5447CF656895}"/>
          </ac:grpSpMkLst>
        </pc:grpChg>
        <pc:grpChg chg="mod">
          <ac:chgData name="Geoff Bennett" userId="18e2b201-f278-4657-aca6-41509691b92d" providerId="ADAL" clId="{3D1ED20F-48AD-485E-B132-4355CCA9B1DB}" dt="2022-05-06T12:11:47.587" v="3326"/>
          <ac:grpSpMkLst>
            <pc:docMk/>
            <pc:sldMk cId="4258401908" sldId="2145706631"/>
            <ac:grpSpMk id="18" creationId="{C2412659-7D39-49B0-84EE-B2F552FD505F}"/>
          </ac:grpSpMkLst>
        </pc:grpChg>
        <pc:grpChg chg="mod">
          <ac:chgData name="Geoff Bennett" userId="18e2b201-f278-4657-aca6-41509691b92d" providerId="ADAL" clId="{3D1ED20F-48AD-485E-B132-4355CCA9B1DB}" dt="2022-05-06T12:11:47.587" v="3326"/>
          <ac:grpSpMkLst>
            <pc:docMk/>
            <pc:sldMk cId="4258401908" sldId="2145706631"/>
            <ac:grpSpMk id="19" creationId="{403109DC-F021-4196-9EB0-6AB5636DE402}"/>
          </ac:grpSpMkLst>
        </pc:grpChg>
        <pc:grpChg chg="add mod">
          <ac:chgData name="Geoff Bennett" userId="18e2b201-f278-4657-aca6-41509691b92d" providerId="ADAL" clId="{3D1ED20F-48AD-485E-B132-4355CCA9B1DB}" dt="2022-05-06T12:15:03.441" v="3373" actId="164"/>
          <ac:grpSpMkLst>
            <pc:docMk/>
            <pc:sldMk cId="4258401908" sldId="2145706631"/>
            <ac:grpSpMk id="27" creationId="{0E27E02D-CC53-47E9-9866-DB269FFB1F25}"/>
          </ac:grpSpMkLst>
        </pc:grpChg>
        <pc:grpChg chg="mod">
          <ac:chgData name="Geoff Bennett" userId="18e2b201-f278-4657-aca6-41509691b92d" providerId="ADAL" clId="{3D1ED20F-48AD-485E-B132-4355CCA9B1DB}" dt="2022-05-06T12:11:52.300" v="3328"/>
          <ac:grpSpMkLst>
            <pc:docMk/>
            <pc:sldMk cId="4258401908" sldId="2145706631"/>
            <ac:grpSpMk id="28" creationId="{EE08B371-262D-4183-9925-FC7FDE078BBB}"/>
          </ac:grpSpMkLst>
        </pc:grpChg>
        <pc:grpChg chg="mod">
          <ac:chgData name="Geoff Bennett" userId="18e2b201-f278-4657-aca6-41509691b92d" providerId="ADAL" clId="{3D1ED20F-48AD-485E-B132-4355CCA9B1DB}" dt="2022-05-06T12:11:52.300" v="3328"/>
          <ac:grpSpMkLst>
            <pc:docMk/>
            <pc:sldMk cId="4258401908" sldId="2145706631"/>
            <ac:grpSpMk id="29" creationId="{9A614F6A-E544-43D9-99EB-5776CC8CD8A3}"/>
          </ac:grpSpMkLst>
        </pc:grpChg>
        <pc:grpChg chg="add mod">
          <ac:chgData name="Geoff Bennett" userId="18e2b201-f278-4657-aca6-41509691b92d" providerId="ADAL" clId="{3D1ED20F-48AD-485E-B132-4355CCA9B1DB}" dt="2022-05-06T12:14:50.591" v="3371" actId="164"/>
          <ac:grpSpMkLst>
            <pc:docMk/>
            <pc:sldMk cId="4258401908" sldId="2145706631"/>
            <ac:grpSpMk id="39" creationId="{747EE678-3F7E-483D-9313-743438BD90BF}"/>
          </ac:grpSpMkLst>
        </pc:grpChg>
        <pc:grpChg chg="add mod">
          <ac:chgData name="Geoff Bennett" userId="18e2b201-f278-4657-aca6-41509691b92d" providerId="ADAL" clId="{3D1ED20F-48AD-485E-B132-4355CCA9B1DB}" dt="2022-05-06T12:14:57.966" v="3372" actId="164"/>
          <ac:grpSpMkLst>
            <pc:docMk/>
            <pc:sldMk cId="4258401908" sldId="2145706631"/>
            <ac:grpSpMk id="40" creationId="{ADE3C77D-B1E0-49C8-83B9-53FB4CAA4F98}"/>
          </ac:grpSpMkLst>
        </pc:grpChg>
        <pc:grpChg chg="add mod">
          <ac:chgData name="Geoff Bennett" userId="18e2b201-f278-4657-aca6-41509691b92d" providerId="ADAL" clId="{3D1ED20F-48AD-485E-B132-4355CCA9B1DB}" dt="2022-05-06T12:15:03.441" v="3373" actId="164"/>
          <ac:grpSpMkLst>
            <pc:docMk/>
            <pc:sldMk cId="4258401908" sldId="2145706631"/>
            <ac:grpSpMk id="41" creationId="{6FBEB08C-92EF-4F35-B046-FC763257D3D8}"/>
          </ac:grpSpMkLst>
        </pc:grpChg>
        <pc:cxnChg chg="add mod">
          <ac:chgData name="Geoff Bennett" userId="18e2b201-f278-4657-aca6-41509691b92d" providerId="ADAL" clId="{3D1ED20F-48AD-485E-B132-4355CCA9B1DB}" dt="2022-05-06T12:14:50.591" v="3371" actId="164"/>
          <ac:cxnSpMkLst>
            <pc:docMk/>
            <pc:sldMk cId="4258401908" sldId="2145706631"/>
            <ac:cxnSpMk id="14" creationId="{C1E332AE-8204-4998-A12E-F53E8D8F2651}"/>
          </ac:cxnSpMkLst>
        </pc:cxnChg>
        <pc:cxnChg chg="add mod">
          <ac:chgData name="Geoff Bennett" userId="18e2b201-f278-4657-aca6-41509691b92d" providerId="ADAL" clId="{3D1ED20F-48AD-485E-B132-4355CCA9B1DB}" dt="2022-05-06T12:14:57.966" v="3372" actId="164"/>
          <ac:cxnSpMkLst>
            <pc:docMk/>
            <pc:sldMk cId="4258401908" sldId="2145706631"/>
            <ac:cxnSpMk id="26" creationId="{0AB2BD23-C71A-4884-A4F0-09585D165FAB}"/>
          </ac:cxnSpMkLst>
        </pc:cxnChg>
        <pc:cxnChg chg="add mod">
          <ac:chgData name="Geoff Bennett" userId="18e2b201-f278-4657-aca6-41509691b92d" providerId="ADAL" clId="{3D1ED20F-48AD-485E-B132-4355CCA9B1DB}" dt="2022-05-06T12:15:03.441" v="3373" actId="164"/>
          <ac:cxnSpMkLst>
            <pc:docMk/>
            <pc:sldMk cId="4258401908" sldId="2145706631"/>
            <ac:cxnSpMk id="36" creationId="{6F35A2E7-37BF-4F4B-A420-7DB166B7556D}"/>
          </ac:cxnSpMkLst>
        </pc:cxnChg>
      </pc:sldChg>
      <pc:sldChg chg="addSp delSp modSp new mod modAnim">
        <pc:chgData name="Geoff Bennett" userId="18e2b201-f278-4657-aca6-41509691b92d" providerId="ADAL" clId="{3D1ED20F-48AD-485E-B132-4355CCA9B1DB}" dt="2022-09-18T14:47:14.803" v="12179"/>
        <pc:sldMkLst>
          <pc:docMk/>
          <pc:sldMk cId="2760656442" sldId="2145706632"/>
        </pc:sldMkLst>
        <pc:spChg chg="mod">
          <ac:chgData name="Geoff Bennett" userId="18e2b201-f278-4657-aca6-41509691b92d" providerId="ADAL" clId="{3D1ED20F-48AD-485E-B132-4355CCA9B1DB}" dt="2022-09-18T14:35:52.568" v="11738" actId="207"/>
          <ac:spMkLst>
            <pc:docMk/>
            <pc:sldMk cId="2760656442" sldId="2145706632"/>
            <ac:spMk id="2" creationId="{2F476C74-493A-4463-B86B-54DCD2D18BE5}"/>
          </ac:spMkLst>
        </pc:spChg>
        <pc:spChg chg="del">
          <ac:chgData name="Geoff Bennett" userId="18e2b201-f278-4657-aca6-41509691b92d" providerId="ADAL" clId="{3D1ED20F-48AD-485E-B132-4355CCA9B1DB}" dt="2022-05-06T12:20:01.259" v="3381" actId="478"/>
          <ac:spMkLst>
            <pc:docMk/>
            <pc:sldMk cId="2760656442" sldId="2145706632"/>
            <ac:spMk id="3" creationId="{DD3EDC2B-A9CA-44A6-8FDA-F21C7F2BEF98}"/>
          </ac:spMkLst>
        </pc:spChg>
        <pc:spChg chg="del">
          <ac:chgData name="Geoff Bennett" userId="18e2b201-f278-4657-aca6-41509691b92d" providerId="ADAL" clId="{3D1ED20F-48AD-485E-B132-4355CCA9B1DB}" dt="2022-09-18T14:44:04.279" v="12150" actId="478"/>
          <ac:spMkLst>
            <pc:docMk/>
            <pc:sldMk cId="2760656442" sldId="2145706632"/>
            <ac:spMk id="4" creationId="{CC68221E-E476-455C-A5C8-074B2E6A9B35}"/>
          </ac:spMkLst>
        </pc:spChg>
        <pc:spChg chg="add mod ord">
          <ac:chgData name="Geoff Bennett" userId="18e2b201-f278-4657-aca6-41509691b92d" providerId="ADAL" clId="{3D1ED20F-48AD-485E-B132-4355CCA9B1DB}" dt="2022-05-06T12:25:29.925" v="3554" actId="1036"/>
          <ac:spMkLst>
            <pc:docMk/>
            <pc:sldMk cId="2760656442" sldId="2145706632"/>
            <ac:spMk id="5" creationId="{290D4409-F19C-4633-A01C-DCBAE6E4941D}"/>
          </ac:spMkLst>
        </pc:spChg>
        <pc:spChg chg="add mod">
          <ac:chgData name="Geoff Bennett" userId="18e2b201-f278-4657-aca6-41509691b92d" providerId="ADAL" clId="{3D1ED20F-48AD-485E-B132-4355CCA9B1DB}" dt="2022-05-06T12:25:29.925" v="3554" actId="1036"/>
          <ac:spMkLst>
            <pc:docMk/>
            <pc:sldMk cId="2760656442" sldId="2145706632"/>
            <ac:spMk id="6" creationId="{31CB1C1D-B52C-4D8E-A917-F7D9BC806806}"/>
          </ac:spMkLst>
        </pc:spChg>
        <pc:spChg chg="add mod ord">
          <ac:chgData name="Geoff Bennett" userId="18e2b201-f278-4657-aca6-41509691b92d" providerId="ADAL" clId="{3D1ED20F-48AD-485E-B132-4355CCA9B1DB}" dt="2022-05-06T12:25:29.925" v="3554" actId="1036"/>
          <ac:spMkLst>
            <pc:docMk/>
            <pc:sldMk cId="2760656442" sldId="2145706632"/>
            <ac:spMk id="7" creationId="{E341EC2A-7807-4D74-9698-F4B0A04E3453}"/>
          </ac:spMkLst>
        </pc:spChg>
        <pc:spChg chg="add mod ord">
          <ac:chgData name="Geoff Bennett" userId="18e2b201-f278-4657-aca6-41509691b92d" providerId="ADAL" clId="{3D1ED20F-48AD-485E-B132-4355CCA9B1DB}" dt="2022-05-06T12:25:29.925" v="3554" actId="1036"/>
          <ac:spMkLst>
            <pc:docMk/>
            <pc:sldMk cId="2760656442" sldId="2145706632"/>
            <ac:spMk id="8" creationId="{F9958DCE-228C-4D3C-95E0-099139847685}"/>
          </ac:spMkLst>
        </pc:spChg>
        <pc:spChg chg="add mod">
          <ac:chgData name="Geoff Bennett" userId="18e2b201-f278-4657-aca6-41509691b92d" providerId="ADAL" clId="{3D1ED20F-48AD-485E-B132-4355CCA9B1DB}" dt="2022-05-06T12:25:29.925" v="3554" actId="1036"/>
          <ac:spMkLst>
            <pc:docMk/>
            <pc:sldMk cId="2760656442" sldId="2145706632"/>
            <ac:spMk id="11" creationId="{1B865F7B-4641-4F53-B2E4-4757E44E3314}"/>
          </ac:spMkLst>
        </pc:spChg>
        <pc:spChg chg="add mod">
          <ac:chgData name="Geoff Bennett" userId="18e2b201-f278-4657-aca6-41509691b92d" providerId="ADAL" clId="{3D1ED20F-48AD-485E-B132-4355CCA9B1DB}" dt="2022-05-06T12:25:29.925" v="3554" actId="1036"/>
          <ac:spMkLst>
            <pc:docMk/>
            <pc:sldMk cId="2760656442" sldId="2145706632"/>
            <ac:spMk id="12" creationId="{DDC0B0D9-77EF-400D-B1E3-0E6882D0FF09}"/>
          </ac:spMkLst>
        </pc:spChg>
        <pc:spChg chg="add mod">
          <ac:chgData name="Geoff Bennett" userId="18e2b201-f278-4657-aca6-41509691b92d" providerId="ADAL" clId="{3D1ED20F-48AD-485E-B132-4355CCA9B1DB}" dt="2022-09-18T14:47:10.908" v="12177" actId="164"/>
          <ac:spMkLst>
            <pc:docMk/>
            <pc:sldMk cId="2760656442" sldId="2145706632"/>
            <ac:spMk id="13" creationId="{E83DB522-0971-491C-9D4B-63042D5EA874}"/>
          </ac:spMkLst>
        </pc:spChg>
        <pc:spChg chg="add mod">
          <ac:chgData name="Geoff Bennett" userId="18e2b201-f278-4657-aca6-41509691b92d" providerId="ADAL" clId="{3D1ED20F-48AD-485E-B132-4355CCA9B1DB}" dt="2022-09-18T14:47:10.908" v="12177" actId="164"/>
          <ac:spMkLst>
            <pc:docMk/>
            <pc:sldMk cId="2760656442" sldId="2145706632"/>
            <ac:spMk id="14" creationId="{C481D24D-1085-438C-A840-273405BB1544}"/>
          </ac:spMkLst>
        </pc:spChg>
        <pc:spChg chg="add mod">
          <ac:chgData name="Geoff Bennett" userId="18e2b201-f278-4657-aca6-41509691b92d" providerId="ADAL" clId="{3D1ED20F-48AD-485E-B132-4355CCA9B1DB}" dt="2022-09-18T14:47:10.908" v="12177" actId="164"/>
          <ac:spMkLst>
            <pc:docMk/>
            <pc:sldMk cId="2760656442" sldId="2145706632"/>
            <ac:spMk id="15" creationId="{43384ED7-A523-44DF-B687-9E0EA3DE11B9}"/>
          </ac:spMkLst>
        </pc:spChg>
        <pc:spChg chg="add mod">
          <ac:chgData name="Geoff Bennett" userId="18e2b201-f278-4657-aca6-41509691b92d" providerId="ADAL" clId="{3D1ED20F-48AD-485E-B132-4355CCA9B1DB}" dt="2022-09-18T14:47:10.908" v="12177" actId="164"/>
          <ac:spMkLst>
            <pc:docMk/>
            <pc:sldMk cId="2760656442" sldId="2145706632"/>
            <ac:spMk id="16" creationId="{FCE25B38-FB2B-42BE-9EF5-F27FA29C624B}"/>
          </ac:spMkLst>
        </pc:spChg>
        <pc:spChg chg="add mod">
          <ac:chgData name="Geoff Bennett" userId="18e2b201-f278-4657-aca6-41509691b92d" providerId="ADAL" clId="{3D1ED20F-48AD-485E-B132-4355CCA9B1DB}" dt="2022-09-18T14:47:10.908" v="12177" actId="164"/>
          <ac:spMkLst>
            <pc:docMk/>
            <pc:sldMk cId="2760656442" sldId="2145706632"/>
            <ac:spMk id="18" creationId="{838E5C09-9A48-48A0-9FEF-9882548F0F91}"/>
          </ac:spMkLst>
        </pc:spChg>
        <pc:spChg chg="add mod">
          <ac:chgData name="Geoff Bennett" userId="18e2b201-f278-4657-aca6-41509691b92d" providerId="ADAL" clId="{3D1ED20F-48AD-485E-B132-4355CCA9B1DB}" dt="2022-09-18T14:47:10.908" v="12177" actId="164"/>
          <ac:spMkLst>
            <pc:docMk/>
            <pc:sldMk cId="2760656442" sldId="2145706632"/>
            <ac:spMk id="19" creationId="{B22D3469-554D-4F85-A23F-B79D368877AD}"/>
          </ac:spMkLst>
        </pc:spChg>
        <pc:grpChg chg="add mod">
          <ac:chgData name="Geoff Bennett" userId="18e2b201-f278-4657-aca6-41509691b92d" providerId="ADAL" clId="{3D1ED20F-48AD-485E-B132-4355CCA9B1DB}" dt="2022-09-18T14:47:10.908" v="12177" actId="164"/>
          <ac:grpSpMkLst>
            <pc:docMk/>
            <pc:sldMk cId="2760656442" sldId="2145706632"/>
            <ac:grpSpMk id="3" creationId="{1FC0889B-30F5-A793-4562-746E03FD79C1}"/>
          </ac:grpSpMkLst>
        </pc:grpChg>
        <pc:grpChg chg="add mod">
          <ac:chgData name="Geoff Bennett" userId="18e2b201-f278-4657-aca6-41509691b92d" providerId="ADAL" clId="{3D1ED20F-48AD-485E-B132-4355CCA9B1DB}" dt="2022-05-06T13:13:10.244" v="4635" actId="164"/>
          <ac:grpSpMkLst>
            <pc:docMk/>
            <pc:sldMk cId="2760656442" sldId="2145706632"/>
            <ac:grpSpMk id="20" creationId="{3902E5B2-6A70-4C81-B327-082708B82FEA}"/>
          </ac:grpSpMkLst>
        </pc:grpChg>
        <pc:cxnChg chg="add mod">
          <ac:chgData name="Geoff Bennett" userId="18e2b201-f278-4657-aca6-41509691b92d" providerId="ADAL" clId="{3D1ED20F-48AD-485E-B132-4355CCA9B1DB}" dt="2022-05-06T12:25:29.925" v="3554" actId="1036"/>
          <ac:cxnSpMkLst>
            <pc:docMk/>
            <pc:sldMk cId="2760656442" sldId="2145706632"/>
            <ac:cxnSpMk id="10" creationId="{1F180535-74BE-4E36-AFE5-BCE0097E1C92}"/>
          </ac:cxnSpMkLst>
        </pc:cxnChg>
        <pc:cxnChg chg="add mod">
          <ac:chgData name="Geoff Bennett" userId="18e2b201-f278-4657-aca6-41509691b92d" providerId="ADAL" clId="{3D1ED20F-48AD-485E-B132-4355CCA9B1DB}" dt="2022-09-18T14:47:10.908" v="12177" actId="164"/>
          <ac:cxnSpMkLst>
            <pc:docMk/>
            <pc:sldMk cId="2760656442" sldId="2145706632"/>
            <ac:cxnSpMk id="17" creationId="{7258BE6C-8345-45D2-882A-DC95772CCEC8}"/>
          </ac:cxnSpMkLst>
        </pc:cxnChg>
      </pc:sldChg>
      <pc:sldChg chg="addSp delSp modSp new mod modClrScheme chgLayout">
        <pc:chgData name="Geoff Bennett" userId="18e2b201-f278-4657-aca6-41509691b92d" providerId="ADAL" clId="{3D1ED20F-48AD-485E-B132-4355CCA9B1DB}" dt="2022-05-08T15:58:28.724" v="8461" actId="1035"/>
        <pc:sldMkLst>
          <pc:docMk/>
          <pc:sldMk cId="1277384724" sldId="2145706633"/>
        </pc:sldMkLst>
        <pc:spChg chg="del">
          <ac:chgData name="Geoff Bennett" userId="18e2b201-f278-4657-aca6-41509691b92d" providerId="ADAL" clId="{3D1ED20F-48AD-485E-B132-4355CCA9B1DB}" dt="2022-05-06T12:28:54.980" v="3691" actId="700"/>
          <ac:spMkLst>
            <pc:docMk/>
            <pc:sldMk cId="1277384724" sldId="2145706633"/>
            <ac:spMk id="2" creationId="{2CE3A596-11CB-47DC-B777-5BCD0141C6AB}"/>
          </ac:spMkLst>
        </pc:spChg>
        <pc:spChg chg="del mod ord">
          <ac:chgData name="Geoff Bennett" userId="18e2b201-f278-4657-aca6-41509691b92d" providerId="ADAL" clId="{3D1ED20F-48AD-485E-B132-4355CCA9B1DB}" dt="2022-05-06T12:28:54.980" v="3691" actId="700"/>
          <ac:spMkLst>
            <pc:docMk/>
            <pc:sldMk cId="1277384724" sldId="2145706633"/>
            <ac:spMk id="3" creationId="{E904D6CA-518C-416E-8791-1904CFABBD8B}"/>
          </ac:spMkLst>
        </pc:spChg>
        <pc:spChg chg="del mod ord">
          <ac:chgData name="Geoff Bennett" userId="18e2b201-f278-4657-aca6-41509691b92d" providerId="ADAL" clId="{3D1ED20F-48AD-485E-B132-4355CCA9B1DB}" dt="2022-05-06T12:29:05.912" v="3709" actId="478"/>
          <ac:spMkLst>
            <pc:docMk/>
            <pc:sldMk cId="1277384724" sldId="2145706633"/>
            <ac:spMk id="4" creationId="{0F7EFBCE-8CA2-4FE9-B67F-166BEF087CC8}"/>
          </ac:spMkLst>
        </pc:spChg>
        <pc:spChg chg="add mod ord">
          <ac:chgData name="Geoff Bennett" userId="18e2b201-f278-4657-aca6-41509691b92d" providerId="ADAL" clId="{3D1ED20F-48AD-485E-B132-4355CCA9B1DB}" dt="2022-05-08T15:58:28.724" v="8461" actId="1035"/>
          <ac:spMkLst>
            <pc:docMk/>
            <pc:sldMk cId="1277384724" sldId="2145706633"/>
            <ac:spMk id="5" creationId="{C2538FC5-0B80-49A6-8327-AF0F2E7888A5}"/>
          </ac:spMkLst>
        </pc:spChg>
        <pc:picChg chg="add mod">
          <ac:chgData name="Geoff Bennett" userId="18e2b201-f278-4657-aca6-41509691b92d" providerId="ADAL" clId="{3D1ED20F-48AD-485E-B132-4355CCA9B1DB}" dt="2022-05-06T13:06:06.111" v="4234" actId="1035"/>
          <ac:picMkLst>
            <pc:docMk/>
            <pc:sldMk cId="1277384724" sldId="2145706633"/>
            <ac:picMk id="7" creationId="{6BC56B27-3F68-43F0-957F-E4EE8D5719B2}"/>
          </ac:picMkLst>
        </pc:picChg>
      </pc:sldChg>
      <pc:sldChg chg="delSp modSp new mod modAnim">
        <pc:chgData name="Geoff Bennett" userId="18e2b201-f278-4657-aca6-41509691b92d" providerId="ADAL" clId="{3D1ED20F-48AD-485E-B132-4355CCA9B1DB}" dt="2022-09-18T14:47:42.838" v="12182"/>
        <pc:sldMkLst>
          <pc:docMk/>
          <pc:sldMk cId="7902825" sldId="2145706634"/>
        </pc:sldMkLst>
        <pc:spChg chg="mod">
          <ac:chgData name="Geoff Bennett" userId="18e2b201-f278-4657-aca6-41509691b92d" providerId="ADAL" clId="{3D1ED20F-48AD-485E-B132-4355CCA9B1DB}" dt="2022-05-06T12:38:09.764" v="3822" actId="20577"/>
          <ac:spMkLst>
            <pc:docMk/>
            <pc:sldMk cId="7902825" sldId="2145706634"/>
            <ac:spMk id="2" creationId="{5AE4A7FA-6248-444B-B6AD-D0CF3B6F59A5}"/>
          </ac:spMkLst>
        </pc:spChg>
        <pc:spChg chg="mod">
          <ac:chgData name="Geoff Bennett" userId="18e2b201-f278-4657-aca6-41509691b92d" providerId="ADAL" clId="{3D1ED20F-48AD-485E-B132-4355CCA9B1DB}" dt="2022-07-12T07:19:10.648" v="9926" actId="207"/>
          <ac:spMkLst>
            <pc:docMk/>
            <pc:sldMk cId="7902825" sldId="2145706634"/>
            <ac:spMk id="3" creationId="{2B7831D9-6017-44CA-B9E8-2C039249B532}"/>
          </ac:spMkLst>
        </pc:spChg>
        <pc:spChg chg="del">
          <ac:chgData name="Geoff Bennett" userId="18e2b201-f278-4657-aca6-41509691b92d" providerId="ADAL" clId="{3D1ED20F-48AD-485E-B132-4355CCA9B1DB}" dt="2022-09-18T14:44:06.370" v="12151" actId="478"/>
          <ac:spMkLst>
            <pc:docMk/>
            <pc:sldMk cId="7902825" sldId="2145706634"/>
            <ac:spMk id="4" creationId="{1BA085A5-8B65-41DA-99BB-FC8B815FAD4A}"/>
          </ac:spMkLst>
        </pc:spChg>
      </pc:sldChg>
      <pc:sldChg chg="addSp delSp modSp new del mod modClrScheme delAnim modAnim chgLayout">
        <pc:chgData name="Geoff Bennett" userId="18e2b201-f278-4657-aca6-41509691b92d" providerId="ADAL" clId="{3D1ED20F-48AD-485E-B132-4355CCA9B1DB}" dt="2022-09-18T14:48:43.423" v="12193" actId="47"/>
        <pc:sldMkLst>
          <pc:docMk/>
          <pc:sldMk cId="2104895048" sldId="2145706635"/>
        </pc:sldMkLst>
        <pc:spChg chg="del mod ord">
          <ac:chgData name="Geoff Bennett" userId="18e2b201-f278-4657-aca6-41509691b92d" providerId="ADAL" clId="{3D1ED20F-48AD-485E-B132-4355CCA9B1DB}" dt="2022-05-06T13:05:26.438" v="4180" actId="700"/>
          <ac:spMkLst>
            <pc:docMk/>
            <pc:sldMk cId="2104895048" sldId="2145706635"/>
            <ac:spMk id="2" creationId="{8E6ADD73-E118-40C5-A051-2576C0740661}"/>
          </ac:spMkLst>
        </pc:spChg>
        <pc:spChg chg="add mod ord">
          <ac:chgData name="Geoff Bennett" userId="18e2b201-f278-4657-aca6-41509691b92d" providerId="ADAL" clId="{3D1ED20F-48AD-485E-B132-4355CCA9B1DB}" dt="2022-05-09T09:21:04.298" v="8616" actId="207"/>
          <ac:spMkLst>
            <pc:docMk/>
            <pc:sldMk cId="2104895048" sldId="2145706635"/>
            <ac:spMk id="3" creationId="{CF4A81BD-4D6F-40FA-BED5-C93235AB34AA}"/>
          </ac:spMkLst>
        </pc:spChg>
        <pc:spChg chg="add del mod ord">
          <ac:chgData name="Geoff Bennett" userId="18e2b201-f278-4657-aca6-41509691b92d" providerId="ADAL" clId="{3D1ED20F-48AD-485E-B132-4355CCA9B1DB}" dt="2022-05-06T13:09:51.346" v="4422" actId="478"/>
          <ac:spMkLst>
            <pc:docMk/>
            <pc:sldMk cId="2104895048" sldId="2145706635"/>
            <ac:spMk id="4" creationId="{FBDECDB6-1BD0-4242-9EF0-BDA40D9EE9B5}"/>
          </ac:spMkLst>
        </pc:spChg>
        <pc:spChg chg="add mod">
          <ac:chgData name="Geoff Bennett" userId="18e2b201-f278-4657-aca6-41509691b92d" providerId="ADAL" clId="{3D1ED20F-48AD-485E-B132-4355CCA9B1DB}" dt="2022-09-18T14:47:53.217" v="12183" actId="164"/>
          <ac:spMkLst>
            <pc:docMk/>
            <pc:sldMk cId="2104895048" sldId="2145706635"/>
            <ac:spMk id="5" creationId="{C703EC6D-A483-4A4F-8C7E-4D2E229F9D0B}"/>
          </ac:spMkLst>
        </pc:spChg>
        <pc:spChg chg="add mod">
          <ac:chgData name="Geoff Bennett" userId="18e2b201-f278-4657-aca6-41509691b92d" providerId="ADAL" clId="{3D1ED20F-48AD-485E-B132-4355CCA9B1DB}" dt="2022-09-18T14:47:58.204" v="12184" actId="164"/>
          <ac:spMkLst>
            <pc:docMk/>
            <pc:sldMk cId="2104895048" sldId="2145706635"/>
            <ac:spMk id="6" creationId="{61A60BAA-72A3-4EE5-A312-D7D3C9CB97CF}"/>
          </ac:spMkLst>
        </pc:spChg>
        <pc:spChg chg="add mod">
          <ac:chgData name="Geoff Bennett" userId="18e2b201-f278-4657-aca6-41509691b92d" providerId="ADAL" clId="{3D1ED20F-48AD-485E-B132-4355CCA9B1DB}" dt="2022-09-18T14:48:01.913" v="12185" actId="164"/>
          <ac:spMkLst>
            <pc:docMk/>
            <pc:sldMk cId="2104895048" sldId="2145706635"/>
            <ac:spMk id="7" creationId="{E133D6EF-5A4B-45DA-9338-B5C848437FC0}"/>
          </ac:spMkLst>
        </pc:spChg>
        <pc:spChg chg="add del mod">
          <ac:chgData name="Geoff Bennett" userId="18e2b201-f278-4657-aca6-41509691b92d" providerId="ADAL" clId="{3D1ED20F-48AD-485E-B132-4355CCA9B1DB}" dt="2022-05-06T13:09:57.068" v="4423" actId="478"/>
          <ac:spMkLst>
            <pc:docMk/>
            <pc:sldMk cId="2104895048" sldId="2145706635"/>
            <ac:spMk id="9" creationId="{07FB9387-00FE-4F63-8771-18D4AC243119}"/>
          </ac:spMkLst>
        </pc:spChg>
        <pc:spChg chg="del mod topLvl">
          <ac:chgData name="Geoff Bennett" userId="18e2b201-f278-4657-aca6-41509691b92d" providerId="ADAL" clId="{3D1ED20F-48AD-485E-B132-4355CCA9B1DB}" dt="2022-05-06T13:12:26.572" v="4546" actId="478"/>
          <ac:spMkLst>
            <pc:docMk/>
            <pc:sldMk cId="2104895048" sldId="2145706635"/>
            <ac:spMk id="13" creationId="{DFA9E11D-136F-42F0-9022-5733EB736820}"/>
          </ac:spMkLst>
        </pc:spChg>
        <pc:spChg chg="del mod topLvl">
          <ac:chgData name="Geoff Bennett" userId="18e2b201-f278-4657-aca6-41509691b92d" providerId="ADAL" clId="{3D1ED20F-48AD-485E-B132-4355CCA9B1DB}" dt="2022-05-06T13:12:23.336" v="4545" actId="478"/>
          <ac:spMkLst>
            <pc:docMk/>
            <pc:sldMk cId="2104895048" sldId="2145706635"/>
            <ac:spMk id="15" creationId="{1F707676-C880-4032-A8C7-218008EC3752}"/>
          </ac:spMkLst>
        </pc:spChg>
        <pc:spChg chg="add mod">
          <ac:chgData name="Geoff Bennett" userId="18e2b201-f278-4657-aca6-41509691b92d" providerId="ADAL" clId="{3D1ED20F-48AD-485E-B132-4355CCA9B1DB}" dt="2022-05-06T13:13:17.223" v="4637" actId="164"/>
          <ac:spMkLst>
            <pc:docMk/>
            <pc:sldMk cId="2104895048" sldId="2145706635"/>
            <ac:spMk id="18" creationId="{ED142DE2-32A4-4D53-9614-4AEBE8C11365}"/>
          </ac:spMkLst>
        </pc:spChg>
        <pc:spChg chg="add mod">
          <ac:chgData name="Geoff Bennett" userId="18e2b201-f278-4657-aca6-41509691b92d" providerId="ADAL" clId="{3D1ED20F-48AD-485E-B132-4355CCA9B1DB}" dt="2022-05-06T13:13:17.223" v="4637" actId="164"/>
          <ac:spMkLst>
            <pc:docMk/>
            <pc:sldMk cId="2104895048" sldId="2145706635"/>
            <ac:spMk id="19" creationId="{DEA62116-CD25-455B-B86B-803763599C29}"/>
          </ac:spMkLst>
        </pc:spChg>
        <pc:spChg chg="add mod">
          <ac:chgData name="Geoff Bennett" userId="18e2b201-f278-4657-aca6-41509691b92d" providerId="ADAL" clId="{3D1ED20F-48AD-485E-B132-4355CCA9B1DB}" dt="2022-05-06T13:13:17.223" v="4637" actId="164"/>
          <ac:spMkLst>
            <pc:docMk/>
            <pc:sldMk cId="2104895048" sldId="2145706635"/>
            <ac:spMk id="20" creationId="{AEA22509-04D6-46BC-8513-D37140C990DC}"/>
          </ac:spMkLst>
        </pc:spChg>
        <pc:spChg chg="add mod">
          <ac:chgData name="Geoff Bennett" userId="18e2b201-f278-4657-aca6-41509691b92d" providerId="ADAL" clId="{3D1ED20F-48AD-485E-B132-4355CCA9B1DB}" dt="2022-05-06T13:13:17.223" v="4637" actId="164"/>
          <ac:spMkLst>
            <pc:docMk/>
            <pc:sldMk cId="2104895048" sldId="2145706635"/>
            <ac:spMk id="21" creationId="{F7E356B0-8890-42AA-9E0C-71CB4F1D7822}"/>
          </ac:spMkLst>
        </pc:spChg>
        <pc:grpChg chg="add mod">
          <ac:chgData name="Geoff Bennett" userId="18e2b201-f278-4657-aca6-41509691b92d" providerId="ADAL" clId="{3D1ED20F-48AD-485E-B132-4355CCA9B1DB}" dt="2022-09-18T14:47:53.217" v="12183" actId="164"/>
          <ac:grpSpMkLst>
            <pc:docMk/>
            <pc:sldMk cId="2104895048" sldId="2145706635"/>
            <ac:grpSpMk id="2" creationId="{85B33000-1B46-B2AD-2097-8A4470B78C13}"/>
          </ac:grpSpMkLst>
        </pc:grpChg>
        <pc:grpChg chg="add mod">
          <ac:chgData name="Geoff Bennett" userId="18e2b201-f278-4657-aca6-41509691b92d" providerId="ADAL" clId="{3D1ED20F-48AD-485E-B132-4355CCA9B1DB}" dt="2022-09-18T14:47:58.204" v="12184" actId="164"/>
          <ac:grpSpMkLst>
            <pc:docMk/>
            <pc:sldMk cId="2104895048" sldId="2145706635"/>
            <ac:grpSpMk id="4" creationId="{C1D1E400-5AB6-1915-6C14-7A1B7AC2F0E4}"/>
          </ac:grpSpMkLst>
        </pc:grpChg>
        <pc:grpChg chg="add mod">
          <ac:chgData name="Geoff Bennett" userId="18e2b201-f278-4657-aca6-41509691b92d" providerId="ADAL" clId="{3D1ED20F-48AD-485E-B132-4355CCA9B1DB}" dt="2022-09-18T14:48:01.913" v="12185" actId="164"/>
          <ac:grpSpMkLst>
            <pc:docMk/>
            <pc:sldMk cId="2104895048" sldId="2145706635"/>
            <ac:grpSpMk id="8" creationId="{4D53B1EB-EE10-32F7-EEFC-3A96A42C6FFA}"/>
          </ac:grpSpMkLst>
        </pc:grpChg>
        <pc:grpChg chg="add del mod">
          <ac:chgData name="Geoff Bennett" userId="18e2b201-f278-4657-aca6-41509691b92d" providerId="ADAL" clId="{3D1ED20F-48AD-485E-B132-4355CCA9B1DB}" dt="2022-05-06T13:12:26.572" v="4546" actId="478"/>
          <ac:grpSpMkLst>
            <pc:docMk/>
            <pc:sldMk cId="2104895048" sldId="2145706635"/>
            <ac:grpSpMk id="11" creationId="{BF6D37F3-6EDC-4AAC-8C74-2D2B5AF86911}"/>
          </ac:grpSpMkLst>
        </pc:grpChg>
        <pc:grpChg chg="add del mod">
          <ac:chgData name="Geoff Bennett" userId="18e2b201-f278-4657-aca6-41509691b92d" providerId="ADAL" clId="{3D1ED20F-48AD-485E-B132-4355CCA9B1DB}" dt="2022-05-06T13:12:23.336" v="4545" actId="478"/>
          <ac:grpSpMkLst>
            <pc:docMk/>
            <pc:sldMk cId="2104895048" sldId="2145706635"/>
            <ac:grpSpMk id="14" creationId="{F867F21D-ED72-4B63-B739-158FAA6E2FC9}"/>
          </ac:grpSpMkLst>
        </pc:grpChg>
        <pc:grpChg chg="add mod">
          <ac:chgData name="Geoff Bennett" userId="18e2b201-f278-4657-aca6-41509691b92d" providerId="ADAL" clId="{3D1ED20F-48AD-485E-B132-4355CCA9B1DB}" dt="2022-09-18T14:47:58.204" v="12184" actId="164"/>
          <ac:grpSpMkLst>
            <pc:docMk/>
            <pc:sldMk cId="2104895048" sldId="2145706635"/>
            <ac:grpSpMk id="17" creationId="{1A7B0B87-EA23-4943-BF0D-C173733FD3D8}"/>
          </ac:grpSpMkLst>
        </pc:grpChg>
        <pc:grpChg chg="add mod">
          <ac:chgData name="Geoff Bennett" userId="18e2b201-f278-4657-aca6-41509691b92d" providerId="ADAL" clId="{3D1ED20F-48AD-485E-B132-4355CCA9B1DB}" dt="2022-09-18T14:48:01.913" v="12185" actId="164"/>
          <ac:grpSpMkLst>
            <pc:docMk/>
            <pc:sldMk cId="2104895048" sldId="2145706635"/>
            <ac:grpSpMk id="23" creationId="{F409A430-8E0C-4702-B01C-333F31437CDF}"/>
          </ac:grpSpMkLst>
        </pc:grpChg>
        <pc:picChg chg="add mod">
          <ac:chgData name="Geoff Bennett" userId="18e2b201-f278-4657-aca6-41509691b92d" providerId="ADAL" clId="{3D1ED20F-48AD-485E-B132-4355CCA9B1DB}" dt="2022-09-18T14:47:53.217" v="12183" actId="164"/>
          <ac:picMkLst>
            <pc:docMk/>
            <pc:sldMk cId="2104895048" sldId="2145706635"/>
            <ac:picMk id="10" creationId="{A73AECDA-CA64-4453-887C-ADA5196BF6C1}"/>
          </ac:picMkLst>
        </pc:picChg>
        <pc:picChg chg="mod topLvl">
          <ac:chgData name="Geoff Bennett" userId="18e2b201-f278-4657-aca6-41509691b92d" providerId="ADAL" clId="{3D1ED20F-48AD-485E-B132-4355CCA9B1DB}" dt="2022-05-06T13:12:51.133" v="4633" actId="1038"/>
          <ac:picMkLst>
            <pc:docMk/>
            <pc:sldMk cId="2104895048" sldId="2145706635"/>
            <ac:picMk id="12" creationId="{639CD844-5C27-4F85-9659-D939FBF9A728}"/>
          </ac:picMkLst>
        </pc:picChg>
        <pc:picChg chg="mod topLvl">
          <ac:chgData name="Geoff Bennett" userId="18e2b201-f278-4657-aca6-41509691b92d" providerId="ADAL" clId="{3D1ED20F-48AD-485E-B132-4355CCA9B1DB}" dt="2022-05-06T13:12:51.133" v="4633" actId="1038"/>
          <ac:picMkLst>
            <pc:docMk/>
            <pc:sldMk cId="2104895048" sldId="2145706635"/>
            <ac:picMk id="16" creationId="{24DD0DF2-38F8-4056-9141-D1E334C0B445}"/>
          </ac:picMkLst>
        </pc:picChg>
        <pc:cxnChg chg="add mod">
          <ac:chgData name="Geoff Bennett" userId="18e2b201-f278-4657-aca6-41509691b92d" providerId="ADAL" clId="{3D1ED20F-48AD-485E-B132-4355CCA9B1DB}" dt="2022-05-06T13:13:17.223" v="4637" actId="164"/>
          <ac:cxnSpMkLst>
            <pc:docMk/>
            <pc:sldMk cId="2104895048" sldId="2145706635"/>
            <ac:cxnSpMk id="22" creationId="{B1CD3386-F360-40D8-B735-4EB33CB064FE}"/>
          </ac:cxnSpMkLst>
        </pc:cxnChg>
      </pc:sldChg>
      <pc:sldChg chg="addSp delSp modSp new mod modClrScheme chgLayout">
        <pc:chgData name="Geoff Bennett" userId="18e2b201-f278-4657-aca6-41509691b92d" providerId="ADAL" clId="{3D1ED20F-48AD-485E-B132-4355CCA9B1DB}" dt="2022-05-06T13:58:49.020" v="5410" actId="1038"/>
        <pc:sldMkLst>
          <pc:docMk/>
          <pc:sldMk cId="1869379048" sldId="2145706636"/>
        </pc:sldMkLst>
        <pc:spChg chg="del">
          <ac:chgData name="Geoff Bennett" userId="18e2b201-f278-4657-aca6-41509691b92d" providerId="ADAL" clId="{3D1ED20F-48AD-485E-B132-4355CCA9B1DB}" dt="2022-05-06T13:58:06.566" v="5292" actId="700"/>
          <ac:spMkLst>
            <pc:docMk/>
            <pc:sldMk cId="1869379048" sldId="2145706636"/>
            <ac:spMk id="2" creationId="{72EBE690-9EC9-454E-85D4-E7D415D4BBB3}"/>
          </ac:spMkLst>
        </pc:spChg>
        <pc:spChg chg="del mod ord">
          <ac:chgData name="Geoff Bennett" userId="18e2b201-f278-4657-aca6-41509691b92d" providerId="ADAL" clId="{3D1ED20F-48AD-485E-B132-4355CCA9B1DB}" dt="2022-05-06T13:58:06.566" v="5292" actId="700"/>
          <ac:spMkLst>
            <pc:docMk/>
            <pc:sldMk cId="1869379048" sldId="2145706636"/>
            <ac:spMk id="3" creationId="{725273CC-9CCB-4CB7-A921-0BA11A017EDC}"/>
          </ac:spMkLst>
        </pc:spChg>
        <pc:spChg chg="del mod ord">
          <ac:chgData name="Geoff Bennett" userId="18e2b201-f278-4657-aca6-41509691b92d" providerId="ADAL" clId="{3D1ED20F-48AD-485E-B132-4355CCA9B1DB}" dt="2022-05-06T13:58:36.207" v="5348" actId="478"/>
          <ac:spMkLst>
            <pc:docMk/>
            <pc:sldMk cId="1869379048" sldId="2145706636"/>
            <ac:spMk id="4" creationId="{1319E1DE-4D73-4F54-A312-C0CCFF26BC44}"/>
          </ac:spMkLst>
        </pc:spChg>
        <pc:spChg chg="add mod ord">
          <ac:chgData name="Geoff Bennett" userId="18e2b201-f278-4657-aca6-41509691b92d" providerId="ADAL" clId="{3D1ED20F-48AD-485E-B132-4355CCA9B1DB}" dt="2022-05-06T13:58:49.020" v="5410" actId="1038"/>
          <ac:spMkLst>
            <pc:docMk/>
            <pc:sldMk cId="1869379048" sldId="2145706636"/>
            <ac:spMk id="5" creationId="{7BAD8587-5CFC-4F6E-B586-1F2224228A82}"/>
          </ac:spMkLst>
        </pc:spChg>
      </pc:sldChg>
      <pc:sldChg chg="addSp delSp modSp new mod modClrScheme modAnim chgLayout">
        <pc:chgData name="Geoff Bennett" userId="18e2b201-f278-4657-aca6-41509691b92d" providerId="ADAL" clId="{3D1ED20F-48AD-485E-B132-4355CCA9B1DB}" dt="2022-09-18T14:11:37.945" v="10244"/>
        <pc:sldMkLst>
          <pc:docMk/>
          <pc:sldMk cId="464669305" sldId="2145706637"/>
        </pc:sldMkLst>
        <pc:spChg chg="del mod ord">
          <ac:chgData name="Geoff Bennett" userId="18e2b201-f278-4657-aca6-41509691b92d" providerId="ADAL" clId="{3D1ED20F-48AD-485E-B132-4355CCA9B1DB}" dt="2022-05-06T13:58:55.805" v="5412" actId="700"/>
          <ac:spMkLst>
            <pc:docMk/>
            <pc:sldMk cId="464669305" sldId="2145706637"/>
            <ac:spMk id="2" creationId="{4EEECF74-BA02-43C7-8D44-8A0BB58B0EF7}"/>
          </ac:spMkLst>
        </pc:spChg>
        <pc:spChg chg="add mod ord">
          <ac:chgData name="Geoff Bennett" userId="18e2b201-f278-4657-aca6-41509691b92d" providerId="ADAL" clId="{3D1ED20F-48AD-485E-B132-4355CCA9B1DB}" dt="2022-09-18T14:07:17.965" v="9970" actId="20577"/>
          <ac:spMkLst>
            <pc:docMk/>
            <pc:sldMk cId="464669305" sldId="2145706637"/>
            <ac:spMk id="3" creationId="{6D268626-EA3B-405C-8C4B-E4A1A196680E}"/>
          </ac:spMkLst>
        </pc:spChg>
        <pc:spChg chg="add del mod ord">
          <ac:chgData name="Geoff Bennett" userId="18e2b201-f278-4657-aca6-41509691b92d" providerId="ADAL" clId="{3D1ED20F-48AD-485E-B132-4355CCA9B1DB}" dt="2022-05-06T14:07:46.736" v="5447" actId="478"/>
          <ac:spMkLst>
            <pc:docMk/>
            <pc:sldMk cId="464669305" sldId="2145706637"/>
            <ac:spMk id="4" creationId="{3569A144-4BFE-4722-8AEF-6FA5E6C63EFB}"/>
          </ac:spMkLst>
        </pc:spChg>
        <pc:spChg chg="add mod">
          <ac:chgData name="Geoff Bennett" userId="18e2b201-f278-4657-aca6-41509691b92d" providerId="ADAL" clId="{3D1ED20F-48AD-485E-B132-4355CCA9B1DB}" dt="2022-09-18T14:11:08.309" v="10223" actId="207"/>
          <ac:spMkLst>
            <pc:docMk/>
            <pc:sldMk cId="464669305" sldId="2145706637"/>
            <ac:spMk id="5" creationId="{7599BD85-85D0-1DA3-7F4A-C6CC7C99BF58}"/>
          </ac:spMkLst>
        </pc:spChg>
        <pc:spChg chg="add del mod">
          <ac:chgData name="Geoff Bennett" userId="18e2b201-f278-4657-aca6-41509691b92d" providerId="ADAL" clId="{3D1ED20F-48AD-485E-B132-4355CCA9B1DB}" dt="2022-09-18T14:07:56.123" v="9981" actId="478"/>
          <ac:spMkLst>
            <pc:docMk/>
            <pc:sldMk cId="464669305" sldId="2145706637"/>
            <ac:spMk id="12" creationId="{5599993F-5CBE-41E2-89CB-7083A4C46F70}"/>
          </ac:spMkLst>
        </pc:spChg>
        <pc:spChg chg="mod">
          <ac:chgData name="Geoff Bennett" userId="18e2b201-f278-4657-aca6-41509691b92d" providerId="ADAL" clId="{3D1ED20F-48AD-485E-B132-4355CCA9B1DB}" dt="2022-09-18T14:11:03.920" v="10222" actId="207"/>
          <ac:spMkLst>
            <pc:docMk/>
            <pc:sldMk cId="464669305" sldId="2145706637"/>
            <ac:spMk id="15" creationId="{0E32CE84-B574-119C-407D-D658475F2214}"/>
          </ac:spMkLst>
        </pc:spChg>
        <pc:spChg chg="mod">
          <ac:chgData name="Geoff Bennett" userId="18e2b201-f278-4657-aca6-41509691b92d" providerId="ADAL" clId="{3D1ED20F-48AD-485E-B132-4355CCA9B1DB}" dt="2022-09-18T14:09:48.934" v="10133"/>
          <ac:spMkLst>
            <pc:docMk/>
            <pc:sldMk cId="464669305" sldId="2145706637"/>
            <ac:spMk id="19" creationId="{2F1ADDD1-0101-9A19-66BB-3C9D0644D50B}"/>
          </ac:spMkLst>
        </pc:spChg>
        <pc:spChg chg="add mod">
          <ac:chgData name="Geoff Bennett" userId="18e2b201-f278-4657-aca6-41509691b92d" providerId="ADAL" clId="{3D1ED20F-48AD-485E-B132-4355CCA9B1DB}" dt="2022-09-18T14:11:26.221" v="10242" actId="164"/>
          <ac:spMkLst>
            <pc:docMk/>
            <pc:sldMk cId="464669305" sldId="2145706637"/>
            <ac:spMk id="20" creationId="{443DDEAE-8ED7-977A-CC28-8AB3CB005976}"/>
          </ac:spMkLst>
        </pc:spChg>
        <pc:grpChg chg="add mod">
          <ac:chgData name="Geoff Bennett" userId="18e2b201-f278-4657-aca6-41509691b92d" providerId="ADAL" clId="{3D1ED20F-48AD-485E-B132-4355CCA9B1DB}" dt="2022-09-18T14:08:26.622" v="10074" actId="1036"/>
          <ac:grpSpMkLst>
            <pc:docMk/>
            <pc:sldMk cId="464669305" sldId="2145706637"/>
            <ac:grpSpMk id="2" creationId="{1FD452F8-406C-AB02-74C5-2BA20B8B3D30}"/>
          </ac:grpSpMkLst>
        </pc:grpChg>
        <pc:grpChg chg="add mod">
          <ac:chgData name="Geoff Bennett" userId="18e2b201-f278-4657-aca6-41509691b92d" providerId="ADAL" clId="{3D1ED20F-48AD-485E-B132-4355CCA9B1DB}" dt="2022-09-18T14:08:26.622" v="10074" actId="1036"/>
          <ac:grpSpMkLst>
            <pc:docMk/>
            <pc:sldMk cId="464669305" sldId="2145706637"/>
            <ac:grpSpMk id="4" creationId="{EA195747-982C-BB41-724D-704F0A072988}"/>
          </ac:grpSpMkLst>
        </pc:grpChg>
        <pc:grpChg chg="add mod">
          <ac:chgData name="Geoff Bennett" userId="18e2b201-f278-4657-aca6-41509691b92d" providerId="ADAL" clId="{3D1ED20F-48AD-485E-B132-4355CCA9B1DB}" dt="2022-09-18T14:08:26.622" v="10074" actId="1036"/>
          <ac:grpSpMkLst>
            <pc:docMk/>
            <pc:sldMk cId="464669305" sldId="2145706637"/>
            <ac:grpSpMk id="9" creationId="{1C05104D-6D5C-8034-B0C8-5A88AF90557B}"/>
          </ac:grpSpMkLst>
        </pc:grpChg>
        <pc:grpChg chg="add mod">
          <ac:chgData name="Geoff Bennett" userId="18e2b201-f278-4657-aca6-41509691b92d" providerId="ADAL" clId="{3D1ED20F-48AD-485E-B132-4355CCA9B1DB}" dt="2022-09-18T14:10:13.391" v="10152" actId="1035"/>
          <ac:grpSpMkLst>
            <pc:docMk/>
            <pc:sldMk cId="464669305" sldId="2145706637"/>
            <ac:grpSpMk id="11" creationId="{489AAE05-63C8-AB35-562D-94B0A3077BAA}"/>
          </ac:grpSpMkLst>
        </pc:grpChg>
        <pc:grpChg chg="add mod">
          <ac:chgData name="Geoff Bennett" userId="18e2b201-f278-4657-aca6-41509691b92d" providerId="ADAL" clId="{3D1ED20F-48AD-485E-B132-4355CCA9B1DB}" dt="2022-09-18T14:11:26.221" v="10242" actId="164"/>
          <ac:grpSpMkLst>
            <pc:docMk/>
            <pc:sldMk cId="464669305" sldId="2145706637"/>
            <ac:grpSpMk id="17" creationId="{A64F5682-8246-FB0C-5B26-DD6C05BB5A25}"/>
          </ac:grpSpMkLst>
        </pc:grpChg>
        <pc:grpChg chg="add mod">
          <ac:chgData name="Geoff Bennett" userId="18e2b201-f278-4657-aca6-41509691b92d" providerId="ADAL" clId="{3D1ED20F-48AD-485E-B132-4355CCA9B1DB}" dt="2022-09-18T14:11:26.221" v="10242" actId="164"/>
          <ac:grpSpMkLst>
            <pc:docMk/>
            <pc:sldMk cId="464669305" sldId="2145706637"/>
            <ac:grpSpMk id="21" creationId="{448DA7D8-5106-38F2-0DC2-61AA8AB75E53}"/>
          </ac:grpSpMkLst>
        </pc:grpChg>
        <pc:picChg chg="add mod">
          <ac:chgData name="Geoff Bennett" userId="18e2b201-f278-4657-aca6-41509691b92d" providerId="ADAL" clId="{3D1ED20F-48AD-485E-B132-4355CCA9B1DB}" dt="2022-09-18T14:08:26.622" v="10074" actId="1036"/>
          <ac:picMkLst>
            <pc:docMk/>
            <pc:sldMk cId="464669305" sldId="2145706637"/>
            <ac:picMk id="6" creationId="{4C9B1B61-BF82-4B97-BB03-F13FE48C59DB}"/>
          </ac:picMkLst>
        </pc:picChg>
        <pc:picChg chg="add mod">
          <ac:chgData name="Geoff Bennett" userId="18e2b201-f278-4657-aca6-41509691b92d" providerId="ADAL" clId="{3D1ED20F-48AD-485E-B132-4355CCA9B1DB}" dt="2022-09-18T14:08:26.622" v="10074" actId="1036"/>
          <ac:picMkLst>
            <pc:docMk/>
            <pc:sldMk cId="464669305" sldId="2145706637"/>
            <ac:picMk id="7" creationId="{C9020EB3-639E-49D0-8AEE-CABB2E4A9E08}"/>
          </ac:picMkLst>
        </pc:picChg>
        <pc:picChg chg="add mod">
          <ac:chgData name="Geoff Bennett" userId="18e2b201-f278-4657-aca6-41509691b92d" providerId="ADAL" clId="{3D1ED20F-48AD-485E-B132-4355CCA9B1DB}" dt="2022-09-18T14:08:26.622" v="10074" actId="1036"/>
          <ac:picMkLst>
            <pc:docMk/>
            <pc:sldMk cId="464669305" sldId="2145706637"/>
            <ac:picMk id="8" creationId="{DAC870BD-9A5F-437E-8FD6-DF2D01875829}"/>
          </ac:picMkLst>
        </pc:picChg>
        <pc:picChg chg="add del mod">
          <ac:chgData name="Geoff Bennett" userId="18e2b201-f278-4657-aca6-41509691b92d" providerId="ADAL" clId="{3D1ED20F-48AD-485E-B132-4355CCA9B1DB}" dt="2022-05-06T14:09:37.515" v="5481" actId="478"/>
          <ac:picMkLst>
            <pc:docMk/>
            <pc:sldMk cId="464669305" sldId="2145706637"/>
            <ac:picMk id="11" creationId="{C4FCBB99-A1EE-4C90-AED9-FDDFE6B7C8B6}"/>
          </ac:picMkLst>
        </pc:picChg>
        <pc:picChg chg="mod">
          <ac:chgData name="Geoff Bennett" userId="18e2b201-f278-4657-aca6-41509691b92d" providerId="ADAL" clId="{3D1ED20F-48AD-485E-B132-4355CCA9B1DB}" dt="2022-09-18T14:10:13.391" v="10152" actId="1035"/>
          <ac:picMkLst>
            <pc:docMk/>
            <pc:sldMk cId="464669305" sldId="2145706637"/>
            <ac:picMk id="13" creationId="{AC751AF4-CF2F-D8C2-E958-216DE82739C9}"/>
          </ac:picMkLst>
        </pc:picChg>
        <pc:picChg chg="mod">
          <ac:chgData name="Geoff Bennett" userId="18e2b201-f278-4657-aca6-41509691b92d" providerId="ADAL" clId="{3D1ED20F-48AD-485E-B132-4355CCA9B1DB}" dt="2022-09-18T14:10:13.391" v="10152" actId="1035"/>
          <ac:picMkLst>
            <pc:docMk/>
            <pc:sldMk cId="464669305" sldId="2145706637"/>
            <ac:picMk id="14" creationId="{C1EBB4ED-1488-1A7D-2368-C41B3BDD99F3}"/>
          </ac:picMkLst>
        </pc:picChg>
        <pc:picChg chg="add mod">
          <ac:chgData name="Geoff Bennett" userId="18e2b201-f278-4657-aca6-41509691b92d" providerId="ADAL" clId="{3D1ED20F-48AD-485E-B132-4355CCA9B1DB}" dt="2022-09-18T14:11:26.221" v="10242" actId="164"/>
          <ac:picMkLst>
            <pc:docMk/>
            <pc:sldMk cId="464669305" sldId="2145706637"/>
            <ac:picMk id="16" creationId="{07DCA8A0-6EB2-D3D5-01F5-1851D42178A2}"/>
          </ac:picMkLst>
        </pc:picChg>
        <pc:picChg chg="mod">
          <ac:chgData name="Geoff Bennett" userId="18e2b201-f278-4657-aca6-41509691b92d" providerId="ADAL" clId="{3D1ED20F-48AD-485E-B132-4355CCA9B1DB}" dt="2022-09-18T14:09:48.934" v="10133"/>
          <ac:picMkLst>
            <pc:docMk/>
            <pc:sldMk cId="464669305" sldId="2145706637"/>
            <ac:picMk id="18" creationId="{8B966438-0291-860F-0E79-6CB3F0EF41DE}"/>
          </ac:picMkLst>
        </pc:picChg>
        <pc:picChg chg="add mod">
          <ac:chgData name="Geoff Bennett" userId="18e2b201-f278-4657-aca6-41509691b92d" providerId="ADAL" clId="{3D1ED20F-48AD-485E-B132-4355CCA9B1DB}" dt="2022-09-18T14:08:26.622" v="10074" actId="1036"/>
          <ac:picMkLst>
            <pc:docMk/>
            <pc:sldMk cId="464669305" sldId="2145706637"/>
            <ac:picMk id="4098" creationId="{3C183E86-C1EF-400D-924A-30A10A4C03E7}"/>
          </ac:picMkLst>
        </pc:picChg>
        <pc:picChg chg="add mod">
          <ac:chgData name="Geoff Bennett" userId="18e2b201-f278-4657-aca6-41509691b92d" providerId="ADAL" clId="{3D1ED20F-48AD-485E-B132-4355CCA9B1DB}" dt="2022-09-18T14:08:26.622" v="10074" actId="1036"/>
          <ac:picMkLst>
            <pc:docMk/>
            <pc:sldMk cId="464669305" sldId="2145706637"/>
            <ac:picMk id="4100" creationId="{85E12886-78C4-41DE-BC7E-260FCA81AEFC}"/>
          </ac:picMkLst>
        </pc:picChg>
        <pc:cxnChg chg="add mod">
          <ac:chgData name="Geoff Bennett" userId="18e2b201-f278-4657-aca6-41509691b92d" providerId="ADAL" clId="{3D1ED20F-48AD-485E-B132-4355CCA9B1DB}" dt="2022-09-18T14:08:26.622" v="10074" actId="1036"/>
          <ac:cxnSpMkLst>
            <pc:docMk/>
            <pc:sldMk cId="464669305" sldId="2145706637"/>
            <ac:cxnSpMk id="10" creationId="{8671C2CA-9C2A-4908-93A2-C5DE0A581502}"/>
          </ac:cxnSpMkLst>
        </pc:cxnChg>
      </pc:sldChg>
      <pc:sldChg chg="addSp delSp modSp add del mod">
        <pc:chgData name="Geoff Bennett" userId="18e2b201-f278-4657-aca6-41509691b92d" providerId="ADAL" clId="{3D1ED20F-48AD-485E-B132-4355CCA9B1DB}" dt="2022-09-18T14:09:32.814" v="10132" actId="47"/>
        <pc:sldMkLst>
          <pc:docMk/>
          <pc:sldMk cId="1246347102" sldId="2145706638"/>
        </pc:sldMkLst>
        <pc:spChg chg="add mod">
          <ac:chgData name="Geoff Bennett" userId="18e2b201-f278-4657-aca6-41509691b92d" providerId="ADAL" clId="{3D1ED20F-48AD-485E-B132-4355CCA9B1DB}" dt="2022-09-18T14:09:17.990" v="10128" actId="164"/>
          <ac:spMkLst>
            <pc:docMk/>
            <pc:sldMk cId="1246347102" sldId="2145706638"/>
            <ac:spMk id="2" creationId="{12117B26-1548-40C9-846B-B8E790CC9964}"/>
          </ac:spMkLst>
        </pc:spChg>
        <pc:spChg chg="mod">
          <ac:chgData name="Geoff Bennett" userId="18e2b201-f278-4657-aca6-41509691b92d" providerId="ADAL" clId="{3D1ED20F-48AD-485E-B132-4355CCA9B1DB}" dt="2022-05-06T14:15:52.362" v="5647" actId="20577"/>
          <ac:spMkLst>
            <pc:docMk/>
            <pc:sldMk cId="1246347102" sldId="2145706638"/>
            <ac:spMk id="3" creationId="{6D268626-EA3B-405C-8C4B-E4A1A196680E}"/>
          </ac:spMkLst>
        </pc:spChg>
        <pc:spChg chg="del">
          <ac:chgData name="Geoff Bennett" userId="18e2b201-f278-4657-aca6-41509691b92d" providerId="ADAL" clId="{3D1ED20F-48AD-485E-B132-4355CCA9B1DB}" dt="2022-05-06T14:16:01.725" v="5648" actId="478"/>
          <ac:spMkLst>
            <pc:docMk/>
            <pc:sldMk cId="1246347102" sldId="2145706638"/>
            <ac:spMk id="12" creationId="{5599993F-5CBE-41E2-89CB-7083A4C46F70}"/>
          </ac:spMkLst>
        </pc:spChg>
        <pc:grpChg chg="add del mod">
          <ac:chgData name="Geoff Bennett" userId="18e2b201-f278-4657-aca6-41509691b92d" providerId="ADAL" clId="{3D1ED20F-48AD-485E-B132-4355CCA9B1DB}" dt="2022-09-18T14:09:25.678" v="10129" actId="21"/>
          <ac:grpSpMkLst>
            <pc:docMk/>
            <pc:sldMk cId="1246347102" sldId="2145706638"/>
            <ac:grpSpMk id="4" creationId="{F389AE2E-6AA4-CFC8-BF4C-224BEDF28DE0}"/>
          </ac:grpSpMkLst>
        </pc:grpChg>
        <pc:picChg chg="del">
          <ac:chgData name="Geoff Bennett" userId="18e2b201-f278-4657-aca6-41509691b92d" providerId="ADAL" clId="{3D1ED20F-48AD-485E-B132-4355CCA9B1DB}" dt="2022-05-06T14:15:28.386" v="5608" actId="478"/>
          <ac:picMkLst>
            <pc:docMk/>
            <pc:sldMk cId="1246347102" sldId="2145706638"/>
            <ac:picMk id="6" creationId="{4C9B1B61-BF82-4B97-BB03-F13FE48C59DB}"/>
          </ac:picMkLst>
        </pc:picChg>
        <pc:picChg chg="del">
          <ac:chgData name="Geoff Bennett" userId="18e2b201-f278-4657-aca6-41509691b92d" providerId="ADAL" clId="{3D1ED20F-48AD-485E-B132-4355CCA9B1DB}" dt="2022-05-06T14:15:22.136" v="5605" actId="478"/>
          <ac:picMkLst>
            <pc:docMk/>
            <pc:sldMk cId="1246347102" sldId="2145706638"/>
            <ac:picMk id="7" creationId="{C9020EB3-639E-49D0-8AEE-CABB2E4A9E08}"/>
          </ac:picMkLst>
        </pc:picChg>
        <pc:picChg chg="del">
          <ac:chgData name="Geoff Bennett" userId="18e2b201-f278-4657-aca6-41509691b92d" providerId="ADAL" clId="{3D1ED20F-48AD-485E-B132-4355CCA9B1DB}" dt="2022-05-06T14:15:22.136" v="5605" actId="478"/>
          <ac:picMkLst>
            <pc:docMk/>
            <pc:sldMk cId="1246347102" sldId="2145706638"/>
            <ac:picMk id="8" creationId="{DAC870BD-9A5F-437E-8FD6-DF2D01875829}"/>
          </ac:picMkLst>
        </pc:picChg>
        <pc:picChg chg="del">
          <ac:chgData name="Geoff Bennett" userId="18e2b201-f278-4657-aca6-41509691b92d" providerId="ADAL" clId="{3D1ED20F-48AD-485E-B132-4355CCA9B1DB}" dt="2022-05-06T14:15:22.136" v="5605" actId="478"/>
          <ac:picMkLst>
            <pc:docMk/>
            <pc:sldMk cId="1246347102" sldId="2145706638"/>
            <ac:picMk id="4098" creationId="{3C183E86-C1EF-400D-924A-30A10A4C03E7}"/>
          </ac:picMkLst>
        </pc:picChg>
        <pc:picChg chg="del">
          <ac:chgData name="Geoff Bennett" userId="18e2b201-f278-4657-aca6-41509691b92d" providerId="ADAL" clId="{3D1ED20F-48AD-485E-B132-4355CCA9B1DB}" dt="2022-05-06T14:15:22.136" v="5605" actId="478"/>
          <ac:picMkLst>
            <pc:docMk/>
            <pc:sldMk cId="1246347102" sldId="2145706638"/>
            <ac:picMk id="4100" creationId="{85E12886-78C4-41DE-BC7E-260FCA81AEFC}"/>
          </ac:picMkLst>
        </pc:picChg>
        <pc:picChg chg="add mod">
          <ac:chgData name="Geoff Bennett" userId="18e2b201-f278-4657-aca6-41509691b92d" providerId="ADAL" clId="{3D1ED20F-48AD-485E-B132-4355CCA9B1DB}" dt="2022-09-18T14:09:17.990" v="10128" actId="164"/>
          <ac:picMkLst>
            <pc:docMk/>
            <pc:sldMk cId="1246347102" sldId="2145706638"/>
            <ac:picMk id="8194" creationId="{DCF11E16-250B-41B1-8C9E-D5C30A01F609}"/>
          </ac:picMkLst>
        </pc:picChg>
        <pc:picChg chg="add mod">
          <ac:chgData name="Geoff Bennett" userId="18e2b201-f278-4657-aca6-41509691b92d" providerId="ADAL" clId="{3D1ED20F-48AD-485E-B132-4355CCA9B1DB}" dt="2022-09-18T14:09:17.990" v="10128" actId="164"/>
          <ac:picMkLst>
            <pc:docMk/>
            <pc:sldMk cId="1246347102" sldId="2145706638"/>
            <ac:picMk id="8196" creationId="{D51C4037-56D9-44FA-BFD1-66215B74E746}"/>
          </ac:picMkLst>
        </pc:picChg>
        <pc:cxnChg chg="del">
          <ac:chgData name="Geoff Bennett" userId="18e2b201-f278-4657-aca6-41509691b92d" providerId="ADAL" clId="{3D1ED20F-48AD-485E-B132-4355CCA9B1DB}" dt="2022-05-06T14:15:22.136" v="5605" actId="478"/>
          <ac:cxnSpMkLst>
            <pc:docMk/>
            <pc:sldMk cId="1246347102" sldId="2145706638"/>
            <ac:cxnSpMk id="10" creationId="{8671C2CA-9C2A-4908-93A2-C5DE0A581502}"/>
          </ac:cxnSpMkLst>
        </pc:cxnChg>
      </pc:sldChg>
      <pc:sldChg chg="addSp delSp modSp new del mod chgLayout">
        <pc:chgData name="Geoff Bennett" userId="18e2b201-f278-4657-aca6-41509691b92d" providerId="ADAL" clId="{3D1ED20F-48AD-485E-B132-4355CCA9B1DB}" dt="2022-09-18T14:11:46.063" v="10245" actId="47"/>
        <pc:sldMkLst>
          <pc:docMk/>
          <pc:sldMk cId="1203339109" sldId="2145706639"/>
        </pc:sldMkLst>
        <pc:spChg chg="mod ord">
          <ac:chgData name="Geoff Bennett" userId="18e2b201-f278-4657-aca6-41509691b92d" providerId="ADAL" clId="{3D1ED20F-48AD-485E-B132-4355CCA9B1DB}" dt="2022-05-06T14:20:46.909" v="5772" actId="700"/>
          <ac:spMkLst>
            <pc:docMk/>
            <pc:sldMk cId="1203339109" sldId="2145706639"/>
            <ac:spMk id="2" creationId="{9C09928D-24B4-4140-973B-86929F302970}"/>
          </ac:spMkLst>
        </pc:spChg>
        <pc:spChg chg="del">
          <ac:chgData name="Geoff Bennett" userId="18e2b201-f278-4657-aca6-41509691b92d" providerId="ADAL" clId="{3D1ED20F-48AD-485E-B132-4355CCA9B1DB}" dt="2022-05-06T14:19:05.778" v="5771" actId="478"/>
          <ac:spMkLst>
            <pc:docMk/>
            <pc:sldMk cId="1203339109" sldId="2145706639"/>
            <ac:spMk id="3" creationId="{359DE5BD-043F-4E05-A639-2DF9F6B1EBF0}"/>
          </ac:spMkLst>
        </pc:spChg>
        <pc:spChg chg="mod ord">
          <ac:chgData name="Geoff Bennett" userId="18e2b201-f278-4657-aca6-41509691b92d" providerId="ADAL" clId="{3D1ED20F-48AD-485E-B132-4355CCA9B1DB}" dt="2022-05-06T14:20:46.909" v="5772" actId="700"/>
          <ac:spMkLst>
            <pc:docMk/>
            <pc:sldMk cId="1203339109" sldId="2145706639"/>
            <ac:spMk id="4" creationId="{BF8BC11B-EB86-452C-A92A-B2CA2D637B18}"/>
          </ac:spMkLst>
        </pc:spChg>
        <pc:spChg chg="add mod ord">
          <ac:chgData name="Geoff Bennett" userId="18e2b201-f278-4657-aca6-41509691b92d" providerId="ADAL" clId="{3D1ED20F-48AD-485E-B132-4355CCA9B1DB}" dt="2022-05-06T14:23:13.460" v="5879" actId="1035"/>
          <ac:spMkLst>
            <pc:docMk/>
            <pc:sldMk cId="1203339109" sldId="2145706639"/>
            <ac:spMk id="5" creationId="{D2716474-60B5-4616-BD2C-E8C17A08446C}"/>
          </ac:spMkLst>
        </pc:spChg>
        <pc:spChg chg="add mod">
          <ac:chgData name="Geoff Bennett" userId="18e2b201-f278-4657-aca6-41509691b92d" providerId="ADAL" clId="{3D1ED20F-48AD-485E-B132-4355CCA9B1DB}" dt="2022-05-06T14:28:04.671" v="5994" actId="164"/>
          <ac:spMkLst>
            <pc:docMk/>
            <pc:sldMk cId="1203339109" sldId="2145706639"/>
            <ac:spMk id="10" creationId="{135C10BD-E330-4A82-BD89-9D4163165742}"/>
          </ac:spMkLst>
        </pc:spChg>
        <pc:spChg chg="add mod">
          <ac:chgData name="Geoff Bennett" userId="18e2b201-f278-4657-aca6-41509691b92d" providerId="ADAL" clId="{3D1ED20F-48AD-485E-B132-4355CCA9B1DB}" dt="2022-05-06T14:36:48.844" v="6410" actId="20577"/>
          <ac:spMkLst>
            <pc:docMk/>
            <pc:sldMk cId="1203339109" sldId="2145706639"/>
            <ac:spMk id="11" creationId="{EFEBFC80-D6B5-4F61-A527-6B7701D6722B}"/>
          </ac:spMkLst>
        </pc:spChg>
        <pc:spChg chg="add mod">
          <ac:chgData name="Geoff Bennett" userId="18e2b201-f278-4657-aca6-41509691b92d" providerId="ADAL" clId="{3D1ED20F-48AD-485E-B132-4355CCA9B1DB}" dt="2022-05-06T14:40:24.699" v="6542" actId="1037"/>
          <ac:spMkLst>
            <pc:docMk/>
            <pc:sldMk cId="1203339109" sldId="2145706639"/>
            <ac:spMk id="13" creationId="{10168ACC-C6DB-4792-A536-2E4F045224FC}"/>
          </ac:spMkLst>
        </pc:spChg>
        <pc:grpChg chg="add del mod">
          <ac:chgData name="Geoff Bennett" userId="18e2b201-f278-4657-aca6-41509691b92d" providerId="ADAL" clId="{3D1ED20F-48AD-485E-B132-4355CCA9B1DB}" dt="2022-05-06T14:30:03.271" v="6092" actId="478"/>
          <ac:grpSpMkLst>
            <pc:docMk/>
            <pc:sldMk cId="1203339109" sldId="2145706639"/>
            <ac:grpSpMk id="12" creationId="{F9F800FC-344A-4C5A-9558-27888F2F4895}"/>
          </ac:grpSpMkLst>
        </pc:grpChg>
        <pc:picChg chg="add mod ord">
          <ac:chgData name="Geoff Bennett" userId="18e2b201-f278-4657-aca6-41509691b92d" providerId="ADAL" clId="{3D1ED20F-48AD-485E-B132-4355CCA9B1DB}" dt="2022-05-06T14:25:29.302" v="5885" actId="166"/>
          <ac:picMkLst>
            <pc:docMk/>
            <pc:sldMk cId="1203339109" sldId="2145706639"/>
            <ac:picMk id="7" creationId="{EBE19E5D-12E0-4ED6-BA05-6054F0A1FD41}"/>
          </ac:picMkLst>
        </pc:picChg>
        <pc:picChg chg="add mod">
          <ac:chgData name="Geoff Bennett" userId="18e2b201-f278-4657-aca6-41509691b92d" providerId="ADAL" clId="{3D1ED20F-48AD-485E-B132-4355CCA9B1DB}" dt="2022-05-06T14:28:04.671" v="5994" actId="164"/>
          <ac:picMkLst>
            <pc:docMk/>
            <pc:sldMk cId="1203339109" sldId="2145706639"/>
            <ac:picMk id="9" creationId="{7C76C7CE-FE0B-475F-A09D-F12D98208586}"/>
          </ac:picMkLst>
        </pc:picChg>
      </pc:sldChg>
      <pc:sldChg chg="addSp delSp modSp new del mod">
        <pc:chgData name="Geoff Bennett" userId="18e2b201-f278-4657-aca6-41509691b92d" providerId="ADAL" clId="{3D1ED20F-48AD-485E-B132-4355CCA9B1DB}" dt="2022-09-18T14:11:47.987" v="10246" actId="47"/>
        <pc:sldMkLst>
          <pc:docMk/>
          <pc:sldMk cId="1634768679" sldId="2145706640"/>
        </pc:sldMkLst>
        <pc:spChg chg="mod">
          <ac:chgData name="Geoff Bennett" userId="18e2b201-f278-4657-aca6-41509691b92d" providerId="ADAL" clId="{3D1ED20F-48AD-485E-B132-4355CCA9B1DB}" dt="2022-05-06T14:41:43.727" v="6591" actId="20577"/>
          <ac:spMkLst>
            <pc:docMk/>
            <pc:sldMk cId="1634768679" sldId="2145706640"/>
            <ac:spMk id="2" creationId="{F1ED7897-823E-49C7-937E-F51801AF4272}"/>
          </ac:spMkLst>
        </pc:spChg>
        <pc:spChg chg="del">
          <ac:chgData name="Geoff Bennett" userId="18e2b201-f278-4657-aca6-41509691b92d" providerId="ADAL" clId="{3D1ED20F-48AD-485E-B132-4355CCA9B1DB}" dt="2022-05-06T14:28:44.731" v="6089" actId="478"/>
          <ac:spMkLst>
            <pc:docMk/>
            <pc:sldMk cId="1634768679" sldId="2145706640"/>
            <ac:spMk id="3" creationId="{DC620E8B-7B8B-4562-BA49-3C7C56E326CC}"/>
          </ac:spMkLst>
        </pc:spChg>
        <pc:spChg chg="mod">
          <ac:chgData name="Geoff Bennett" userId="18e2b201-f278-4657-aca6-41509691b92d" providerId="ADAL" clId="{3D1ED20F-48AD-485E-B132-4355CCA9B1DB}" dt="2022-05-09T09:33:40.401" v="8729" actId="1037"/>
          <ac:spMkLst>
            <pc:docMk/>
            <pc:sldMk cId="1634768679" sldId="2145706640"/>
            <ac:spMk id="8" creationId="{54971487-9A68-4987-8589-BF6F31D65449}"/>
          </ac:spMkLst>
        </pc:spChg>
        <pc:spChg chg="add mod">
          <ac:chgData name="Geoff Bennett" userId="18e2b201-f278-4657-aca6-41509691b92d" providerId="ADAL" clId="{3D1ED20F-48AD-485E-B132-4355CCA9B1DB}" dt="2022-05-09T09:33:46.994" v="8740" actId="14100"/>
          <ac:spMkLst>
            <pc:docMk/>
            <pc:sldMk cId="1634768679" sldId="2145706640"/>
            <ac:spMk id="9" creationId="{A2A8EAA8-2425-4C81-91F0-8AF215706D60}"/>
          </ac:spMkLst>
        </pc:spChg>
        <pc:grpChg chg="add mod">
          <ac:chgData name="Geoff Bennett" userId="18e2b201-f278-4657-aca6-41509691b92d" providerId="ADAL" clId="{3D1ED20F-48AD-485E-B132-4355CCA9B1DB}" dt="2022-05-09T09:33:31.676" v="8712" actId="1038"/>
          <ac:grpSpMkLst>
            <pc:docMk/>
            <pc:sldMk cId="1634768679" sldId="2145706640"/>
            <ac:grpSpMk id="6" creationId="{0BFC0872-5267-4460-B425-CAF67315FCEA}"/>
          </ac:grpSpMkLst>
        </pc:grpChg>
        <pc:picChg chg="add mod">
          <ac:chgData name="Geoff Bennett" userId="18e2b201-f278-4657-aca6-41509691b92d" providerId="ADAL" clId="{3D1ED20F-48AD-485E-B132-4355CCA9B1DB}" dt="2022-05-06T14:28:36.420" v="6087"/>
          <ac:picMkLst>
            <pc:docMk/>
            <pc:sldMk cId="1634768679" sldId="2145706640"/>
            <ac:picMk id="5" creationId="{742F8C7A-841C-4A38-B1B8-B5C1B134E6BD}"/>
          </ac:picMkLst>
        </pc:picChg>
        <pc:picChg chg="mod">
          <ac:chgData name="Geoff Bennett" userId="18e2b201-f278-4657-aca6-41509691b92d" providerId="ADAL" clId="{3D1ED20F-48AD-485E-B132-4355CCA9B1DB}" dt="2022-05-06T14:28:36.420" v="6087"/>
          <ac:picMkLst>
            <pc:docMk/>
            <pc:sldMk cId="1634768679" sldId="2145706640"/>
            <ac:picMk id="7" creationId="{C292FC91-00FE-4B16-AD6D-9A23D3C2B58B}"/>
          </ac:picMkLst>
        </pc:picChg>
      </pc:sldChg>
      <pc:sldChg chg="addSp delSp modSp new mod modAnim">
        <pc:chgData name="Geoff Bennett" userId="18e2b201-f278-4657-aca6-41509691b92d" providerId="ADAL" clId="{3D1ED20F-48AD-485E-B132-4355CCA9B1DB}" dt="2022-09-18T14:44:26.456" v="12157" actId="478"/>
        <pc:sldMkLst>
          <pc:docMk/>
          <pc:sldMk cId="3793940789" sldId="2145706641"/>
        </pc:sldMkLst>
        <pc:spChg chg="mod">
          <ac:chgData name="Geoff Bennett" userId="18e2b201-f278-4657-aca6-41509691b92d" providerId="ADAL" clId="{3D1ED20F-48AD-485E-B132-4355CCA9B1DB}" dt="2022-09-18T14:20:18.782" v="10702" actId="6549"/>
          <ac:spMkLst>
            <pc:docMk/>
            <pc:sldMk cId="3793940789" sldId="2145706641"/>
            <ac:spMk id="2" creationId="{A0A55F97-1AA2-4379-B5F3-314C038C9F01}"/>
          </ac:spMkLst>
        </pc:spChg>
        <pc:spChg chg="add del mod">
          <ac:chgData name="Geoff Bennett" userId="18e2b201-f278-4657-aca6-41509691b92d" providerId="ADAL" clId="{3D1ED20F-48AD-485E-B132-4355CCA9B1DB}" dt="2022-09-18T14:12:49.192" v="10326" actId="478"/>
          <ac:spMkLst>
            <pc:docMk/>
            <pc:sldMk cId="3793940789" sldId="2145706641"/>
            <ac:spMk id="3" creationId="{F4F0BC79-4FDD-4848-B3BA-B98BD1B9BA9F}"/>
          </ac:spMkLst>
        </pc:spChg>
        <pc:spChg chg="del">
          <ac:chgData name="Geoff Bennett" userId="18e2b201-f278-4657-aca6-41509691b92d" providerId="ADAL" clId="{3D1ED20F-48AD-485E-B132-4355CCA9B1DB}" dt="2022-09-18T14:44:26.456" v="12157" actId="478"/>
          <ac:spMkLst>
            <pc:docMk/>
            <pc:sldMk cId="3793940789" sldId="2145706641"/>
            <ac:spMk id="4" creationId="{56DA3E60-A8DE-4865-97E1-9FBC47E42E55}"/>
          </ac:spMkLst>
        </pc:spChg>
        <pc:spChg chg="add del mod">
          <ac:chgData name="Geoff Bennett" userId="18e2b201-f278-4657-aca6-41509691b92d" providerId="ADAL" clId="{3D1ED20F-48AD-485E-B132-4355CCA9B1DB}" dt="2022-09-18T14:12:53.299" v="10328" actId="478"/>
          <ac:spMkLst>
            <pc:docMk/>
            <pc:sldMk cId="3793940789" sldId="2145706641"/>
            <ac:spMk id="6" creationId="{0016D840-E55A-5424-3CD7-EC4246523D25}"/>
          </ac:spMkLst>
        </pc:spChg>
        <pc:spChg chg="add mod">
          <ac:chgData name="Geoff Bennett" userId="18e2b201-f278-4657-aca6-41509691b92d" providerId="ADAL" clId="{3D1ED20F-48AD-485E-B132-4355CCA9B1DB}" dt="2022-09-18T14:14:59.943" v="10477" actId="1038"/>
          <ac:spMkLst>
            <pc:docMk/>
            <pc:sldMk cId="3793940789" sldId="2145706641"/>
            <ac:spMk id="9" creationId="{004790F4-A2C3-BDDB-DC78-3415A2516970}"/>
          </ac:spMkLst>
        </pc:spChg>
        <pc:spChg chg="add mod">
          <ac:chgData name="Geoff Bennett" userId="18e2b201-f278-4657-aca6-41509691b92d" providerId="ADAL" clId="{3D1ED20F-48AD-485E-B132-4355CCA9B1DB}" dt="2022-09-18T14:29:22.132" v="11656" actId="164"/>
          <ac:spMkLst>
            <pc:docMk/>
            <pc:sldMk cId="3793940789" sldId="2145706641"/>
            <ac:spMk id="10" creationId="{F609A80F-9D3C-C601-E84F-5E136AED3BF1}"/>
          </ac:spMkLst>
        </pc:spChg>
        <pc:spChg chg="add mod">
          <ac:chgData name="Geoff Bennett" userId="18e2b201-f278-4657-aca6-41509691b92d" providerId="ADAL" clId="{3D1ED20F-48AD-485E-B132-4355CCA9B1DB}" dt="2022-09-18T14:29:22.132" v="11656" actId="164"/>
          <ac:spMkLst>
            <pc:docMk/>
            <pc:sldMk cId="3793940789" sldId="2145706641"/>
            <ac:spMk id="11" creationId="{7F687037-D377-6814-DC51-C2EFDD3C94F5}"/>
          </ac:spMkLst>
        </pc:spChg>
        <pc:spChg chg="add mod">
          <ac:chgData name="Geoff Bennett" userId="18e2b201-f278-4657-aca6-41509691b92d" providerId="ADAL" clId="{3D1ED20F-48AD-485E-B132-4355CCA9B1DB}" dt="2022-09-18T14:29:33.588" v="11659" actId="164"/>
          <ac:spMkLst>
            <pc:docMk/>
            <pc:sldMk cId="3793940789" sldId="2145706641"/>
            <ac:spMk id="15" creationId="{29A42AF0-9239-3B36-E91D-4A03590BEE83}"/>
          </ac:spMkLst>
        </pc:spChg>
        <pc:spChg chg="add mod">
          <ac:chgData name="Geoff Bennett" userId="18e2b201-f278-4657-aca6-41509691b92d" providerId="ADAL" clId="{3D1ED20F-48AD-485E-B132-4355CCA9B1DB}" dt="2022-09-18T14:29:33.588" v="11659" actId="164"/>
          <ac:spMkLst>
            <pc:docMk/>
            <pc:sldMk cId="3793940789" sldId="2145706641"/>
            <ac:spMk id="17" creationId="{EBB98A0E-9B05-ADA3-CBAD-371A7BCDFF83}"/>
          </ac:spMkLst>
        </pc:spChg>
        <pc:spChg chg="add mod">
          <ac:chgData name="Geoff Bennett" userId="18e2b201-f278-4657-aca6-41509691b92d" providerId="ADAL" clId="{3D1ED20F-48AD-485E-B132-4355CCA9B1DB}" dt="2022-09-18T14:18:52.726" v="10673" actId="1037"/>
          <ac:spMkLst>
            <pc:docMk/>
            <pc:sldMk cId="3793940789" sldId="2145706641"/>
            <ac:spMk id="22" creationId="{609586FE-68F0-A360-4C83-1D646156A479}"/>
          </ac:spMkLst>
        </pc:spChg>
        <pc:grpChg chg="add mod">
          <ac:chgData name="Geoff Bennett" userId="18e2b201-f278-4657-aca6-41509691b92d" providerId="ADAL" clId="{3D1ED20F-48AD-485E-B132-4355CCA9B1DB}" dt="2022-09-18T14:29:22.132" v="11656" actId="164"/>
          <ac:grpSpMkLst>
            <pc:docMk/>
            <pc:sldMk cId="3793940789" sldId="2145706641"/>
            <ac:grpSpMk id="23" creationId="{78A381CC-8054-55E5-333A-B5E5E8185EE0}"/>
          </ac:grpSpMkLst>
        </pc:grpChg>
        <pc:grpChg chg="add mod">
          <ac:chgData name="Geoff Bennett" userId="18e2b201-f278-4657-aca6-41509691b92d" providerId="ADAL" clId="{3D1ED20F-48AD-485E-B132-4355CCA9B1DB}" dt="2022-09-18T14:29:33.588" v="11659" actId="164"/>
          <ac:grpSpMkLst>
            <pc:docMk/>
            <pc:sldMk cId="3793940789" sldId="2145706641"/>
            <ac:grpSpMk id="24" creationId="{9A5A92B1-BBA8-EF6D-B6E3-7E7769DFBCD2}"/>
          </ac:grpSpMkLst>
        </pc:grpChg>
        <pc:picChg chg="add del">
          <ac:chgData name="Geoff Bennett" userId="18e2b201-f278-4657-aca6-41509691b92d" providerId="ADAL" clId="{3D1ED20F-48AD-485E-B132-4355CCA9B1DB}" dt="2022-05-06T14:49:14.115" v="6747" actId="22"/>
          <ac:picMkLst>
            <pc:docMk/>
            <pc:sldMk cId="3793940789" sldId="2145706641"/>
            <ac:picMk id="6" creationId="{652CE9F3-5F6C-43D0-863E-71DCAAA4E3A7}"/>
          </ac:picMkLst>
        </pc:picChg>
        <pc:picChg chg="add mod">
          <ac:chgData name="Geoff Bennett" userId="18e2b201-f278-4657-aca6-41509691b92d" providerId="ADAL" clId="{3D1ED20F-48AD-485E-B132-4355CCA9B1DB}" dt="2022-09-18T14:14:54.194" v="10452" actId="1037"/>
          <ac:picMkLst>
            <pc:docMk/>
            <pc:sldMk cId="3793940789" sldId="2145706641"/>
            <ac:picMk id="7" creationId="{AC91D4BF-384E-0D45-C8D9-BAF27D2AA744}"/>
          </ac:picMkLst>
        </pc:picChg>
        <pc:picChg chg="add del mod">
          <ac:chgData name="Geoff Bennett" userId="18e2b201-f278-4657-aca6-41509691b92d" providerId="ADAL" clId="{3D1ED20F-48AD-485E-B132-4355CCA9B1DB}" dt="2022-09-18T14:12:51.035" v="10327" actId="478"/>
          <ac:picMkLst>
            <pc:docMk/>
            <pc:sldMk cId="3793940789" sldId="2145706641"/>
            <ac:picMk id="8" creationId="{A4F53F7F-AFEB-485A-9366-90FCD3B6A60A}"/>
          </ac:picMkLst>
        </pc:picChg>
        <pc:cxnChg chg="add mod">
          <ac:chgData name="Geoff Bennett" userId="18e2b201-f278-4657-aca6-41509691b92d" providerId="ADAL" clId="{3D1ED20F-48AD-485E-B132-4355CCA9B1DB}" dt="2022-09-18T14:29:22.132" v="11656" actId="164"/>
          <ac:cxnSpMkLst>
            <pc:docMk/>
            <pc:sldMk cId="3793940789" sldId="2145706641"/>
            <ac:cxnSpMk id="13" creationId="{D1A56F31-55A6-50C1-97B6-6AD4AF4A7C84}"/>
          </ac:cxnSpMkLst>
        </pc:cxnChg>
        <pc:cxnChg chg="add mod">
          <ac:chgData name="Geoff Bennett" userId="18e2b201-f278-4657-aca6-41509691b92d" providerId="ADAL" clId="{3D1ED20F-48AD-485E-B132-4355CCA9B1DB}" dt="2022-09-18T14:29:33.588" v="11659" actId="164"/>
          <ac:cxnSpMkLst>
            <pc:docMk/>
            <pc:sldMk cId="3793940789" sldId="2145706641"/>
            <ac:cxnSpMk id="19" creationId="{5622E03B-9BD2-2C72-BB6C-B0D0E5E28C41}"/>
          </ac:cxnSpMkLst>
        </pc:cxnChg>
      </pc:sldChg>
      <pc:sldChg chg="addSp delSp modSp new mod modClrScheme chgLayout">
        <pc:chgData name="Geoff Bennett" userId="18e2b201-f278-4657-aca6-41509691b92d" providerId="ADAL" clId="{3D1ED20F-48AD-485E-B132-4355CCA9B1DB}" dt="2022-09-18T14:12:18.730" v="10285" actId="1076"/>
        <pc:sldMkLst>
          <pc:docMk/>
          <pc:sldMk cId="142012815" sldId="2145706642"/>
        </pc:sldMkLst>
        <pc:spChg chg="del">
          <ac:chgData name="Geoff Bennett" userId="18e2b201-f278-4657-aca6-41509691b92d" providerId="ADAL" clId="{3D1ED20F-48AD-485E-B132-4355CCA9B1DB}" dt="2022-05-06T14:48:14.844" v="6686" actId="700"/>
          <ac:spMkLst>
            <pc:docMk/>
            <pc:sldMk cId="142012815" sldId="2145706642"/>
            <ac:spMk id="2" creationId="{5D6AE9E2-B493-4658-BEFB-96D5C5F85370}"/>
          </ac:spMkLst>
        </pc:spChg>
        <pc:spChg chg="del mod ord">
          <ac:chgData name="Geoff Bennett" userId="18e2b201-f278-4657-aca6-41509691b92d" providerId="ADAL" clId="{3D1ED20F-48AD-485E-B132-4355CCA9B1DB}" dt="2022-05-06T14:48:14.844" v="6686" actId="700"/>
          <ac:spMkLst>
            <pc:docMk/>
            <pc:sldMk cId="142012815" sldId="2145706642"/>
            <ac:spMk id="3" creationId="{F1B9660B-9EB8-4705-9A5B-9A7FF141FD01}"/>
          </ac:spMkLst>
        </pc:spChg>
        <pc:spChg chg="del mod ord">
          <ac:chgData name="Geoff Bennett" userId="18e2b201-f278-4657-aca6-41509691b92d" providerId="ADAL" clId="{3D1ED20F-48AD-485E-B132-4355CCA9B1DB}" dt="2022-05-06T14:49:06.613" v="6744" actId="478"/>
          <ac:spMkLst>
            <pc:docMk/>
            <pc:sldMk cId="142012815" sldId="2145706642"/>
            <ac:spMk id="4" creationId="{5F2D806F-0692-4854-A5D8-F6159666F08D}"/>
          </ac:spMkLst>
        </pc:spChg>
        <pc:spChg chg="add mod ord">
          <ac:chgData name="Geoff Bennett" userId="18e2b201-f278-4657-aca6-41509691b92d" providerId="ADAL" clId="{3D1ED20F-48AD-485E-B132-4355CCA9B1DB}" dt="2022-09-18T14:12:18.730" v="10285" actId="1076"/>
          <ac:spMkLst>
            <pc:docMk/>
            <pc:sldMk cId="142012815" sldId="2145706642"/>
            <ac:spMk id="5" creationId="{B3776520-0B81-4F57-BE19-BD0728AF5626}"/>
          </ac:spMkLst>
        </pc:spChg>
      </pc:sldChg>
      <pc:sldChg chg="addSp delSp modSp new mod modAnim">
        <pc:chgData name="Geoff Bennett" userId="18e2b201-f278-4657-aca6-41509691b92d" providerId="ADAL" clId="{3D1ED20F-48AD-485E-B132-4355CCA9B1DB}" dt="2022-09-18T14:45:25.221" v="12165"/>
        <pc:sldMkLst>
          <pc:docMk/>
          <pc:sldMk cId="3311018487" sldId="2145706643"/>
        </pc:sldMkLst>
        <pc:spChg chg="mod">
          <ac:chgData name="Geoff Bennett" userId="18e2b201-f278-4657-aca6-41509691b92d" providerId="ADAL" clId="{3D1ED20F-48AD-485E-B132-4355CCA9B1DB}" dt="2022-09-18T14:21:25.225" v="10842" actId="207"/>
          <ac:spMkLst>
            <pc:docMk/>
            <pc:sldMk cId="3311018487" sldId="2145706643"/>
            <ac:spMk id="2" creationId="{501A5132-C82E-4CAE-8724-1BDDE3C7BE16}"/>
          </ac:spMkLst>
        </pc:spChg>
        <pc:spChg chg="mod">
          <ac:chgData name="Geoff Bennett" userId="18e2b201-f278-4657-aca6-41509691b92d" providerId="ADAL" clId="{3D1ED20F-48AD-485E-B132-4355CCA9B1DB}" dt="2022-09-18T14:22:22.242" v="10914" actId="20577"/>
          <ac:spMkLst>
            <pc:docMk/>
            <pc:sldMk cId="3311018487" sldId="2145706643"/>
            <ac:spMk id="3" creationId="{A192FE07-CBAE-403C-A988-91E6F4938CB1}"/>
          </ac:spMkLst>
        </pc:spChg>
        <pc:spChg chg="del">
          <ac:chgData name="Geoff Bennett" userId="18e2b201-f278-4657-aca6-41509691b92d" providerId="ADAL" clId="{3D1ED20F-48AD-485E-B132-4355CCA9B1DB}" dt="2022-09-18T14:44:31.567" v="12159" actId="478"/>
          <ac:spMkLst>
            <pc:docMk/>
            <pc:sldMk cId="3311018487" sldId="2145706643"/>
            <ac:spMk id="4" creationId="{8E9C0916-EBB4-4ABB-B9CB-ACE001EF5E1D}"/>
          </ac:spMkLst>
        </pc:spChg>
        <pc:picChg chg="add mod modCrop">
          <ac:chgData name="Geoff Bennett" userId="18e2b201-f278-4657-aca6-41509691b92d" providerId="ADAL" clId="{3D1ED20F-48AD-485E-B132-4355CCA9B1DB}" dt="2022-05-06T15:18:36.917" v="7337" actId="1076"/>
          <ac:picMkLst>
            <pc:docMk/>
            <pc:sldMk cId="3311018487" sldId="2145706643"/>
            <ac:picMk id="5" creationId="{96CD73C9-2056-49D0-9F1F-6DE6E4960B00}"/>
          </ac:picMkLst>
        </pc:picChg>
      </pc:sldChg>
      <pc:sldChg chg="delSp modSp new mod modAnim">
        <pc:chgData name="Geoff Bennett" userId="18e2b201-f278-4657-aca6-41509691b92d" providerId="ADAL" clId="{3D1ED20F-48AD-485E-B132-4355CCA9B1DB}" dt="2022-09-18T14:44:09.128" v="12152" actId="478"/>
        <pc:sldMkLst>
          <pc:docMk/>
          <pc:sldMk cId="2383081366" sldId="2145706644"/>
        </pc:sldMkLst>
        <pc:spChg chg="mod">
          <ac:chgData name="Geoff Bennett" userId="18e2b201-f278-4657-aca6-41509691b92d" providerId="ADAL" clId="{3D1ED20F-48AD-485E-B132-4355CCA9B1DB}" dt="2022-05-08T15:51:10.768" v="7670" actId="5793"/>
          <ac:spMkLst>
            <pc:docMk/>
            <pc:sldMk cId="2383081366" sldId="2145706644"/>
            <ac:spMk id="2" creationId="{D18A195D-C512-4E76-AD13-21A662D41CAA}"/>
          </ac:spMkLst>
        </pc:spChg>
        <pc:spChg chg="mod">
          <ac:chgData name="Geoff Bennett" userId="18e2b201-f278-4657-aca6-41509691b92d" providerId="ADAL" clId="{3D1ED20F-48AD-485E-B132-4355CCA9B1DB}" dt="2022-05-10T08:18:27.888" v="9825" actId="207"/>
          <ac:spMkLst>
            <pc:docMk/>
            <pc:sldMk cId="2383081366" sldId="2145706644"/>
            <ac:spMk id="3" creationId="{E3F1C4CA-FBB4-4625-A58E-494402E85511}"/>
          </ac:spMkLst>
        </pc:spChg>
        <pc:spChg chg="del">
          <ac:chgData name="Geoff Bennett" userId="18e2b201-f278-4657-aca6-41509691b92d" providerId="ADAL" clId="{3D1ED20F-48AD-485E-B132-4355CCA9B1DB}" dt="2022-09-18T14:44:09.128" v="12152" actId="478"/>
          <ac:spMkLst>
            <pc:docMk/>
            <pc:sldMk cId="2383081366" sldId="2145706644"/>
            <ac:spMk id="4" creationId="{357CDAC1-81EF-445E-834E-4FBC5B9A709D}"/>
          </ac:spMkLst>
        </pc:spChg>
      </pc:sldChg>
      <pc:sldChg chg="addSp delSp modSp new mod modClrScheme chgLayout">
        <pc:chgData name="Geoff Bennett" userId="18e2b201-f278-4657-aca6-41509691b92d" providerId="ADAL" clId="{3D1ED20F-48AD-485E-B132-4355CCA9B1DB}" dt="2022-05-10T08:03:17.312" v="8955" actId="114"/>
        <pc:sldMkLst>
          <pc:docMk/>
          <pc:sldMk cId="2425090729" sldId="2145706645"/>
        </pc:sldMkLst>
        <pc:spChg chg="del">
          <ac:chgData name="Geoff Bennett" userId="18e2b201-f278-4657-aca6-41509691b92d" providerId="ADAL" clId="{3D1ED20F-48AD-485E-B132-4355CCA9B1DB}" dt="2022-05-10T08:02:52.656" v="8911" actId="700"/>
          <ac:spMkLst>
            <pc:docMk/>
            <pc:sldMk cId="2425090729" sldId="2145706645"/>
            <ac:spMk id="2" creationId="{5D5EA3CB-67BB-FE0C-EB36-6323AD67211A}"/>
          </ac:spMkLst>
        </pc:spChg>
        <pc:spChg chg="del mod ord">
          <ac:chgData name="Geoff Bennett" userId="18e2b201-f278-4657-aca6-41509691b92d" providerId="ADAL" clId="{3D1ED20F-48AD-485E-B132-4355CCA9B1DB}" dt="2022-05-10T08:02:52.656" v="8911" actId="700"/>
          <ac:spMkLst>
            <pc:docMk/>
            <pc:sldMk cId="2425090729" sldId="2145706645"/>
            <ac:spMk id="3" creationId="{6A52EDBC-1EFC-5321-EEE6-F068C74BB8EF}"/>
          </ac:spMkLst>
        </pc:spChg>
        <pc:spChg chg="del mod ord">
          <ac:chgData name="Geoff Bennett" userId="18e2b201-f278-4657-aca6-41509691b92d" providerId="ADAL" clId="{3D1ED20F-48AD-485E-B132-4355CCA9B1DB}" dt="2022-05-10T08:03:08.672" v="8954" actId="478"/>
          <ac:spMkLst>
            <pc:docMk/>
            <pc:sldMk cId="2425090729" sldId="2145706645"/>
            <ac:spMk id="4" creationId="{32B1604B-D1FE-3449-754A-B7DA60626901}"/>
          </ac:spMkLst>
        </pc:spChg>
        <pc:spChg chg="add mod ord">
          <ac:chgData name="Geoff Bennett" userId="18e2b201-f278-4657-aca6-41509691b92d" providerId="ADAL" clId="{3D1ED20F-48AD-485E-B132-4355CCA9B1DB}" dt="2022-05-10T08:03:17.312" v="8955" actId="114"/>
          <ac:spMkLst>
            <pc:docMk/>
            <pc:sldMk cId="2425090729" sldId="2145706645"/>
            <ac:spMk id="5" creationId="{22C571B9-AD00-4C85-CC3B-131CA1366439}"/>
          </ac:spMkLst>
        </pc:spChg>
      </pc:sldChg>
      <pc:sldChg chg="addSp delSp modSp new mod modClrScheme chgLayout">
        <pc:chgData name="Geoff Bennett" userId="18e2b201-f278-4657-aca6-41509691b92d" providerId="ADAL" clId="{3D1ED20F-48AD-485E-B132-4355CCA9B1DB}" dt="2022-09-18T14:43:04.226" v="12104" actId="478"/>
        <pc:sldMkLst>
          <pc:docMk/>
          <pc:sldMk cId="3029077332" sldId="2145706646"/>
        </pc:sldMkLst>
        <pc:spChg chg="del">
          <ac:chgData name="Geoff Bennett" userId="18e2b201-f278-4657-aca6-41509691b92d" providerId="ADAL" clId="{3D1ED20F-48AD-485E-B132-4355CCA9B1DB}" dt="2022-05-10T08:19:43.163" v="9829" actId="700"/>
          <ac:spMkLst>
            <pc:docMk/>
            <pc:sldMk cId="3029077332" sldId="2145706646"/>
            <ac:spMk id="2" creationId="{65F02FBB-ED6A-B143-B203-77ED2FE97A5D}"/>
          </ac:spMkLst>
        </pc:spChg>
        <pc:spChg chg="del mod ord">
          <ac:chgData name="Geoff Bennett" userId="18e2b201-f278-4657-aca6-41509691b92d" providerId="ADAL" clId="{3D1ED20F-48AD-485E-B132-4355CCA9B1DB}" dt="2022-05-10T08:19:43.163" v="9829" actId="700"/>
          <ac:spMkLst>
            <pc:docMk/>
            <pc:sldMk cId="3029077332" sldId="2145706646"/>
            <ac:spMk id="3" creationId="{7DCDF34E-16BA-C9AC-FEBA-D482589BF6F9}"/>
          </ac:spMkLst>
        </pc:spChg>
        <pc:spChg chg="del mod ord">
          <ac:chgData name="Geoff Bennett" userId="18e2b201-f278-4657-aca6-41509691b92d" providerId="ADAL" clId="{3D1ED20F-48AD-485E-B132-4355CCA9B1DB}" dt="2022-09-18T14:43:04.226" v="12104" actId="478"/>
          <ac:spMkLst>
            <pc:docMk/>
            <pc:sldMk cId="3029077332" sldId="2145706646"/>
            <ac:spMk id="4" creationId="{7BC3D73C-E425-7D8B-17DA-B08D59E22B12}"/>
          </ac:spMkLst>
        </pc:spChg>
        <pc:spChg chg="add mod ord">
          <ac:chgData name="Geoff Bennett" userId="18e2b201-f278-4657-aca6-41509691b92d" providerId="ADAL" clId="{3D1ED20F-48AD-485E-B132-4355CCA9B1DB}" dt="2022-09-18T14:43:00.694" v="12103" actId="27636"/>
          <ac:spMkLst>
            <pc:docMk/>
            <pc:sldMk cId="3029077332" sldId="2145706646"/>
            <ac:spMk id="5" creationId="{63B89752-8E77-FAA5-949C-D001AD200EB7}"/>
          </ac:spMkLst>
        </pc:spChg>
      </pc:sldChg>
      <pc:sldChg chg="add del">
        <pc:chgData name="Geoff Bennett" userId="18e2b201-f278-4657-aca6-41509691b92d" providerId="ADAL" clId="{3D1ED20F-48AD-485E-B132-4355CCA9B1DB}" dt="2022-09-18T14:21:31.864" v="10843" actId="47"/>
        <pc:sldMkLst>
          <pc:docMk/>
          <pc:sldMk cId="3397060688" sldId="2145706647"/>
        </pc:sldMkLst>
      </pc:sldChg>
      <pc:sldChg chg="addSp delSp modSp new mod modAnim">
        <pc:chgData name="Geoff Bennett" userId="18e2b201-f278-4657-aca6-41509691b92d" providerId="ADAL" clId="{3D1ED20F-48AD-485E-B132-4355CCA9B1DB}" dt="2022-09-18T14:44:48.467" v="12162"/>
        <pc:sldMkLst>
          <pc:docMk/>
          <pc:sldMk cId="3487918790" sldId="2145706647"/>
        </pc:sldMkLst>
        <pc:spChg chg="mod">
          <ac:chgData name="Geoff Bennett" userId="18e2b201-f278-4657-aca6-41509691b92d" providerId="ADAL" clId="{3D1ED20F-48AD-485E-B132-4355CCA9B1DB}" dt="2022-09-18T14:39:38.224" v="11772" actId="20577"/>
          <ac:spMkLst>
            <pc:docMk/>
            <pc:sldMk cId="3487918790" sldId="2145706647"/>
            <ac:spMk id="2" creationId="{586C0B1B-A6DA-F1BE-A7B3-9452C6E6D589}"/>
          </ac:spMkLst>
        </pc:spChg>
        <pc:spChg chg="del">
          <ac:chgData name="Geoff Bennett" userId="18e2b201-f278-4657-aca6-41509691b92d" providerId="ADAL" clId="{3D1ED20F-48AD-485E-B132-4355CCA9B1DB}" dt="2022-09-18T14:23:01.402" v="10938" actId="478"/>
          <ac:spMkLst>
            <pc:docMk/>
            <pc:sldMk cId="3487918790" sldId="2145706647"/>
            <ac:spMk id="3" creationId="{6460B1DA-2F4E-79D3-C93D-D8B1D2F76E3A}"/>
          </ac:spMkLst>
        </pc:spChg>
        <pc:spChg chg="del">
          <ac:chgData name="Geoff Bennett" userId="18e2b201-f278-4657-aca6-41509691b92d" providerId="ADAL" clId="{3D1ED20F-48AD-485E-B132-4355CCA9B1DB}" dt="2022-09-18T14:44:34.290" v="12160" actId="478"/>
          <ac:spMkLst>
            <pc:docMk/>
            <pc:sldMk cId="3487918790" sldId="2145706647"/>
            <ac:spMk id="4" creationId="{51F24BDB-050C-47C0-3640-24EC158F1D90}"/>
          </ac:spMkLst>
        </pc:spChg>
        <pc:spChg chg="add mod">
          <ac:chgData name="Geoff Bennett" userId="18e2b201-f278-4657-aca6-41509691b92d" providerId="ADAL" clId="{3D1ED20F-48AD-485E-B132-4355CCA9B1DB}" dt="2022-09-18T14:40:41.153" v="11805" actId="114"/>
          <ac:spMkLst>
            <pc:docMk/>
            <pc:sldMk cId="3487918790" sldId="2145706647"/>
            <ac:spMk id="5" creationId="{F3B0E9A5-EBD2-7788-D8A1-77DB1F7F225D}"/>
          </ac:spMkLst>
        </pc:spChg>
        <pc:spChg chg="add mod">
          <ac:chgData name="Geoff Bennett" userId="18e2b201-f278-4657-aca6-41509691b92d" providerId="ADAL" clId="{3D1ED20F-48AD-485E-B132-4355CCA9B1DB}" dt="2022-09-18T14:41:15.951" v="11917" actId="20577"/>
          <ac:spMkLst>
            <pc:docMk/>
            <pc:sldMk cId="3487918790" sldId="2145706647"/>
            <ac:spMk id="6" creationId="{B542D573-E78A-2CF1-80C3-4802C22615E3}"/>
          </ac:spMkLst>
        </pc:spChg>
        <pc:spChg chg="add mod">
          <ac:chgData name="Geoff Bennett" userId="18e2b201-f278-4657-aca6-41509691b92d" providerId="ADAL" clId="{3D1ED20F-48AD-485E-B132-4355CCA9B1DB}" dt="2022-09-18T14:42:26.726" v="12042" actId="114"/>
          <ac:spMkLst>
            <pc:docMk/>
            <pc:sldMk cId="3487918790" sldId="2145706647"/>
            <ac:spMk id="7" creationId="{4D11D842-9599-B5CF-4F64-40E875AF88B6}"/>
          </ac:spMkLst>
        </pc:spChg>
      </pc:sldChg>
      <pc:sldChg chg="addSp delSp modSp new mod delAnim modAnim">
        <pc:chgData name="Geoff Bennett" userId="18e2b201-f278-4657-aca6-41509691b92d" providerId="ADAL" clId="{3D1ED20F-48AD-485E-B132-4355CCA9B1DB}" dt="2022-09-18T14:44:29.193" v="12158" actId="478"/>
        <pc:sldMkLst>
          <pc:docMk/>
          <pc:sldMk cId="2233819522" sldId="2145706648"/>
        </pc:sldMkLst>
        <pc:spChg chg="mod">
          <ac:chgData name="Geoff Bennett" userId="18e2b201-f278-4657-aca6-41509691b92d" providerId="ADAL" clId="{3D1ED20F-48AD-485E-B132-4355CCA9B1DB}" dt="2022-09-18T14:24:03.704" v="11075" actId="20577"/>
          <ac:spMkLst>
            <pc:docMk/>
            <pc:sldMk cId="2233819522" sldId="2145706648"/>
            <ac:spMk id="2" creationId="{631E8D2B-1B6A-9F83-EDE5-18645F97434B}"/>
          </ac:spMkLst>
        </pc:spChg>
        <pc:spChg chg="del">
          <ac:chgData name="Geoff Bennett" userId="18e2b201-f278-4657-aca6-41509691b92d" providerId="ADAL" clId="{3D1ED20F-48AD-485E-B132-4355CCA9B1DB}" dt="2022-09-18T14:23:58.115" v="11061" actId="478"/>
          <ac:spMkLst>
            <pc:docMk/>
            <pc:sldMk cId="2233819522" sldId="2145706648"/>
            <ac:spMk id="3" creationId="{D5EB7385-C0A9-E00F-E773-E18A124E64DA}"/>
          </ac:spMkLst>
        </pc:spChg>
        <pc:spChg chg="del">
          <ac:chgData name="Geoff Bennett" userId="18e2b201-f278-4657-aca6-41509691b92d" providerId="ADAL" clId="{3D1ED20F-48AD-485E-B132-4355CCA9B1DB}" dt="2022-09-18T14:44:29.193" v="12158" actId="478"/>
          <ac:spMkLst>
            <pc:docMk/>
            <pc:sldMk cId="2233819522" sldId="2145706648"/>
            <ac:spMk id="4" creationId="{3641C432-DF22-2DA3-2AE9-BDB5DEF26EA2}"/>
          </ac:spMkLst>
        </pc:spChg>
        <pc:spChg chg="del mod topLvl">
          <ac:chgData name="Geoff Bennett" userId="18e2b201-f278-4657-aca6-41509691b92d" providerId="ADAL" clId="{3D1ED20F-48AD-485E-B132-4355CCA9B1DB}" dt="2022-09-18T14:24:34.378" v="11077" actId="478"/>
          <ac:spMkLst>
            <pc:docMk/>
            <pc:sldMk cId="2233819522" sldId="2145706648"/>
            <ac:spMk id="7" creationId="{74ACA8DE-B8C5-6186-CC93-172065891906}"/>
          </ac:spMkLst>
        </pc:spChg>
        <pc:spChg chg="del mod topLvl">
          <ac:chgData name="Geoff Bennett" userId="18e2b201-f278-4657-aca6-41509691b92d" providerId="ADAL" clId="{3D1ED20F-48AD-485E-B132-4355CCA9B1DB}" dt="2022-09-18T14:24:36.374" v="11078" actId="478"/>
          <ac:spMkLst>
            <pc:docMk/>
            <pc:sldMk cId="2233819522" sldId="2145706648"/>
            <ac:spMk id="9" creationId="{168CC7FC-C5C6-AA4F-B698-E3A811859183}"/>
          </ac:spMkLst>
        </pc:spChg>
        <pc:spChg chg="add mod">
          <ac:chgData name="Geoff Bennett" userId="18e2b201-f278-4657-aca6-41509691b92d" providerId="ADAL" clId="{3D1ED20F-48AD-485E-B132-4355CCA9B1DB}" dt="2022-09-18T14:28:40.246" v="11648" actId="164"/>
          <ac:spMkLst>
            <pc:docMk/>
            <pc:sldMk cId="2233819522" sldId="2145706648"/>
            <ac:spMk id="11" creationId="{19EDD72A-87BE-E045-7010-8220C5DB6D22}"/>
          </ac:spMkLst>
        </pc:spChg>
        <pc:spChg chg="add mod">
          <ac:chgData name="Geoff Bennett" userId="18e2b201-f278-4657-aca6-41509691b92d" providerId="ADAL" clId="{3D1ED20F-48AD-485E-B132-4355CCA9B1DB}" dt="2022-09-18T14:28:56.785" v="11652" actId="164"/>
          <ac:spMkLst>
            <pc:docMk/>
            <pc:sldMk cId="2233819522" sldId="2145706648"/>
            <ac:spMk id="12" creationId="{E8674C5F-E58A-6A5C-50AA-4357F6E4E3A2}"/>
          </ac:spMkLst>
        </pc:spChg>
        <pc:spChg chg="add mod">
          <ac:chgData name="Geoff Bennett" userId="18e2b201-f278-4657-aca6-41509691b92d" providerId="ADAL" clId="{3D1ED20F-48AD-485E-B132-4355CCA9B1DB}" dt="2022-09-18T14:28:56.785" v="11652" actId="164"/>
          <ac:spMkLst>
            <pc:docMk/>
            <pc:sldMk cId="2233819522" sldId="2145706648"/>
            <ac:spMk id="13" creationId="{1CBAC066-6688-7D2E-500A-58E149F39ED1}"/>
          </ac:spMkLst>
        </pc:spChg>
        <pc:spChg chg="add mod">
          <ac:chgData name="Geoff Bennett" userId="18e2b201-f278-4657-aca6-41509691b92d" providerId="ADAL" clId="{3D1ED20F-48AD-485E-B132-4355CCA9B1DB}" dt="2022-09-18T14:28:56.785" v="11652" actId="164"/>
          <ac:spMkLst>
            <pc:docMk/>
            <pc:sldMk cId="2233819522" sldId="2145706648"/>
            <ac:spMk id="14" creationId="{08C584D1-08D2-9794-0C97-1583B213601D}"/>
          </ac:spMkLst>
        </pc:spChg>
        <pc:spChg chg="add mod">
          <ac:chgData name="Geoff Bennett" userId="18e2b201-f278-4657-aca6-41509691b92d" providerId="ADAL" clId="{3D1ED20F-48AD-485E-B132-4355CCA9B1DB}" dt="2022-09-18T14:28:56.785" v="11652" actId="164"/>
          <ac:spMkLst>
            <pc:docMk/>
            <pc:sldMk cId="2233819522" sldId="2145706648"/>
            <ac:spMk id="15" creationId="{F7FB13F2-290A-3C40-0975-0C4D42BFCB39}"/>
          </ac:spMkLst>
        </pc:spChg>
        <pc:spChg chg="add mod">
          <ac:chgData name="Geoff Bennett" userId="18e2b201-f278-4657-aca6-41509691b92d" providerId="ADAL" clId="{3D1ED20F-48AD-485E-B132-4355CCA9B1DB}" dt="2022-09-18T14:28:35.176" v="11647" actId="207"/>
          <ac:spMkLst>
            <pc:docMk/>
            <pc:sldMk cId="2233819522" sldId="2145706648"/>
            <ac:spMk id="16" creationId="{E85A489D-8BDE-A378-05AF-4AEC2E51C987}"/>
          </ac:spMkLst>
        </pc:spChg>
        <pc:grpChg chg="add del mod">
          <ac:chgData name="Geoff Bennett" userId="18e2b201-f278-4657-aca6-41509691b92d" providerId="ADAL" clId="{3D1ED20F-48AD-485E-B132-4355CCA9B1DB}" dt="2022-09-18T14:24:34.378" v="11077" actId="478"/>
          <ac:grpSpMkLst>
            <pc:docMk/>
            <pc:sldMk cId="2233819522" sldId="2145706648"/>
            <ac:grpSpMk id="5" creationId="{7FF2842C-6DC9-5DC5-09D0-5057CCF27D02}"/>
          </ac:grpSpMkLst>
        </pc:grpChg>
        <pc:grpChg chg="add del mod">
          <ac:chgData name="Geoff Bennett" userId="18e2b201-f278-4657-aca6-41509691b92d" providerId="ADAL" clId="{3D1ED20F-48AD-485E-B132-4355CCA9B1DB}" dt="2022-09-18T14:24:36.374" v="11078" actId="478"/>
          <ac:grpSpMkLst>
            <pc:docMk/>
            <pc:sldMk cId="2233819522" sldId="2145706648"/>
            <ac:grpSpMk id="8" creationId="{0D7E121B-3C27-55B5-F2AC-5940ABF9A18F}"/>
          </ac:grpSpMkLst>
        </pc:grpChg>
        <pc:grpChg chg="add mod">
          <ac:chgData name="Geoff Bennett" userId="18e2b201-f278-4657-aca6-41509691b92d" providerId="ADAL" clId="{3D1ED20F-48AD-485E-B132-4355CCA9B1DB}" dt="2022-09-18T14:28:40.246" v="11648" actId="164"/>
          <ac:grpSpMkLst>
            <pc:docMk/>
            <pc:sldMk cId="2233819522" sldId="2145706648"/>
            <ac:grpSpMk id="17" creationId="{A374A3DA-8937-FE2C-B5B4-C73DEF543E91}"/>
          </ac:grpSpMkLst>
        </pc:grpChg>
        <pc:grpChg chg="add mod">
          <ac:chgData name="Geoff Bennett" userId="18e2b201-f278-4657-aca6-41509691b92d" providerId="ADAL" clId="{3D1ED20F-48AD-485E-B132-4355CCA9B1DB}" dt="2022-09-18T14:28:56.785" v="11652" actId="164"/>
          <ac:grpSpMkLst>
            <pc:docMk/>
            <pc:sldMk cId="2233819522" sldId="2145706648"/>
            <ac:grpSpMk id="18" creationId="{973A383D-E55B-6CD7-3043-E37AB1534395}"/>
          </ac:grpSpMkLst>
        </pc:grpChg>
        <pc:picChg chg="mod topLvl">
          <ac:chgData name="Geoff Bennett" userId="18e2b201-f278-4657-aca6-41509691b92d" providerId="ADAL" clId="{3D1ED20F-48AD-485E-B132-4355CCA9B1DB}" dt="2022-09-18T14:28:40.246" v="11648" actId="164"/>
          <ac:picMkLst>
            <pc:docMk/>
            <pc:sldMk cId="2233819522" sldId="2145706648"/>
            <ac:picMk id="6" creationId="{E9DA9B02-E361-EC56-952D-1DAE45996B56}"/>
          </ac:picMkLst>
        </pc:picChg>
        <pc:picChg chg="mod topLvl">
          <ac:chgData name="Geoff Bennett" userId="18e2b201-f278-4657-aca6-41509691b92d" providerId="ADAL" clId="{3D1ED20F-48AD-485E-B132-4355CCA9B1DB}" dt="2022-09-18T14:28:40.246" v="11648" actId="164"/>
          <ac:picMkLst>
            <pc:docMk/>
            <pc:sldMk cId="2233819522" sldId="2145706648"/>
            <ac:picMk id="10" creationId="{2642DFD6-348F-D8BE-CB19-8521C5E03250}"/>
          </ac:picMkLst>
        </pc:picChg>
      </pc:sldChg>
      <pc:sldMasterChg chg="delSp mod modTransition modSldLayout">
        <pc:chgData name="Geoff Bennett" userId="18e2b201-f278-4657-aca6-41509691b92d" providerId="ADAL" clId="{3D1ED20F-48AD-485E-B132-4355CCA9B1DB}" dt="2022-09-18T14:43:18.339" v="12105" actId="478"/>
        <pc:sldMasterMkLst>
          <pc:docMk/>
          <pc:sldMasterMk cId="4277685315" sldId="2147483680"/>
        </pc:sldMasterMkLst>
        <pc:spChg chg="del">
          <ac:chgData name="Geoff Bennett" userId="18e2b201-f278-4657-aca6-41509691b92d" providerId="ADAL" clId="{3D1ED20F-48AD-485E-B132-4355CCA9B1DB}" dt="2022-09-18T14:43:18.339" v="12105" actId="478"/>
          <ac:spMkLst>
            <pc:docMk/>
            <pc:sldMasterMk cId="4277685315" sldId="2147483680"/>
            <ac:spMk id="7" creationId="{332A8723-3A66-42A9-9761-A297780424AD}"/>
          </ac:spMkLst>
        </pc:spChg>
        <pc:sldLayoutChg chg="modTransition">
          <pc:chgData name="Geoff Bennett" userId="18e2b201-f278-4657-aca6-41509691b92d" providerId="ADAL" clId="{3D1ED20F-48AD-485E-B132-4355CCA9B1DB}" dt="2022-05-06T10:51:28.731" v="1769"/>
          <pc:sldLayoutMkLst>
            <pc:docMk/>
            <pc:sldMasterMk cId="4277685315" sldId="2147483680"/>
            <pc:sldLayoutMk cId="3541372546" sldId="2147483681"/>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2968128041" sldId="2147483685"/>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1211883695" sldId="2147483687"/>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551786394" sldId="2147483689"/>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3360713222" sldId="2147483690"/>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2255326981" sldId="2147483691"/>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2584172579" sldId="2147483692"/>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3050761361" sldId="2147483693"/>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1318886639" sldId="2147483694"/>
          </pc:sldLayoutMkLst>
        </pc:sldLayoutChg>
        <pc:sldLayoutChg chg="modTransition">
          <pc:chgData name="Geoff Bennett" userId="18e2b201-f278-4657-aca6-41509691b92d" providerId="ADAL" clId="{3D1ED20F-48AD-485E-B132-4355CCA9B1DB}" dt="2022-05-06T10:51:28.731" v="1769"/>
          <pc:sldLayoutMkLst>
            <pc:docMk/>
            <pc:sldMasterMk cId="4277685315" sldId="2147483680"/>
            <pc:sldLayoutMk cId="270287939" sldId="214748369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E44F3B2-A4F3-4D3E-848F-65ED498D3B8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1000" dirty="0">
              <a:solidFill>
                <a:schemeClr val="tx2"/>
              </a:solidFill>
            </a:endParaRPr>
          </a:p>
        </p:txBody>
      </p:sp>
      <p:sp>
        <p:nvSpPr>
          <p:cNvPr id="3" name="Date Placeholder 2">
            <a:extLst>
              <a:ext uri="{FF2B5EF4-FFF2-40B4-BE49-F238E27FC236}">
                <a16:creationId xmlns:a16="http://schemas.microsoft.com/office/drawing/2014/main" id="{19F6FC08-AC91-4856-8D1B-41576AF0ECA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B468FEC-E224-494A-8783-13954A95E985}" type="datetimeFigureOut">
              <a:rPr lang="en-US" sz="1000" smtClean="0">
                <a:solidFill>
                  <a:schemeClr val="tx2"/>
                </a:solidFill>
              </a:rPr>
              <a:t>9/18/2022</a:t>
            </a:fld>
            <a:endParaRPr lang="en-US" sz="1000">
              <a:solidFill>
                <a:schemeClr val="tx2"/>
              </a:solidFill>
            </a:endParaRPr>
          </a:p>
        </p:txBody>
      </p:sp>
      <p:sp>
        <p:nvSpPr>
          <p:cNvPr id="4" name="Footer Placeholder 3">
            <a:extLst>
              <a:ext uri="{FF2B5EF4-FFF2-40B4-BE49-F238E27FC236}">
                <a16:creationId xmlns:a16="http://schemas.microsoft.com/office/drawing/2014/main" id="{126AC6FB-545A-4E77-AB45-C2C22485A31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1000">
              <a:solidFill>
                <a:schemeClr val="tx2"/>
              </a:solidFill>
            </a:endParaRPr>
          </a:p>
        </p:txBody>
      </p:sp>
      <p:sp>
        <p:nvSpPr>
          <p:cNvPr id="5" name="Slide Number Placeholder 4">
            <a:extLst>
              <a:ext uri="{FF2B5EF4-FFF2-40B4-BE49-F238E27FC236}">
                <a16:creationId xmlns:a16="http://schemas.microsoft.com/office/drawing/2014/main" id="{A9EC47D4-A914-4477-BC26-05EEDB66561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30DFD79-4EC8-4022-A9C1-ACE465F9B6BD}" type="slidenum">
              <a:rPr lang="en-US" sz="1000" smtClean="0">
                <a:solidFill>
                  <a:schemeClr val="tx2"/>
                </a:solidFill>
              </a:rPr>
              <a:t>‹#›</a:t>
            </a:fld>
            <a:endParaRPr lang="en-US" sz="1000">
              <a:solidFill>
                <a:schemeClr val="tx2"/>
              </a:solidFill>
            </a:endParaRPr>
          </a:p>
        </p:txBody>
      </p:sp>
    </p:spTree>
    <p:extLst>
      <p:ext uri="{BB962C8B-B14F-4D97-AF65-F5344CB8AC3E}">
        <p14:creationId xmlns:p14="http://schemas.microsoft.com/office/powerpoint/2010/main" val="238757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4B0B66-E9D4-4E31-BCBF-4026B91B6D00}" type="datetimeFigureOut">
              <a:rPr lang="en-US" smtClean="0"/>
              <a:t>9/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1B9615-9050-483D-911C-F514DC410090}" type="slidenum">
              <a:rPr lang="en-US" smtClean="0"/>
              <a:t>‹#›</a:t>
            </a:fld>
            <a:endParaRPr lang="en-US"/>
          </a:p>
        </p:txBody>
      </p:sp>
    </p:spTree>
    <p:extLst>
      <p:ext uri="{BB962C8B-B14F-4D97-AF65-F5344CB8AC3E}">
        <p14:creationId xmlns:p14="http://schemas.microsoft.com/office/powerpoint/2010/main" val="292617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6" name="Rectangle 2"/>
          <p:cNvSpPr>
            <a:spLocks noGrp="1" noRot="1" noChangeAspect="1" noChangeArrowheads="1" noTextEdit="1"/>
          </p:cNvSpPr>
          <p:nvPr>
            <p:ph type="sldImg"/>
          </p:nvPr>
        </p:nvSpPr>
        <p:spPr bwMode="auto">
          <a:xfrm>
            <a:off x="65088" y="733425"/>
            <a:ext cx="6519862" cy="3668713"/>
          </a:xfrm>
          <a:prstGeom prst="rect">
            <a:avLst/>
          </a:prstGeom>
          <a:solidFill>
            <a:srgbClr val="FFFFFF"/>
          </a:solidFill>
          <a:ln>
            <a:solidFill>
              <a:srgbClr val="000000"/>
            </a:solidFill>
            <a:miter lim="800000"/>
            <a:headEnd/>
            <a:tailEnd/>
          </a:ln>
        </p:spPr>
      </p:sp>
      <p:sp>
        <p:nvSpPr>
          <p:cNvPr id="446467" name="Rectangle 3"/>
          <p:cNvSpPr>
            <a:spLocks noGrp="1" noChangeArrowheads="1"/>
          </p:cNvSpPr>
          <p:nvPr>
            <p:ph type="body" idx="1"/>
          </p:nvPr>
        </p:nvSpPr>
        <p:spPr bwMode="auto">
          <a:xfrm>
            <a:off x="885825" y="4646613"/>
            <a:ext cx="4876800" cy="4402137"/>
          </a:xfrm>
          <a:prstGeom prst="rect">
            <a:avLst/>
          </a:prstGeom>
          <a:solidFill>
            <a:srgbClr val="FFFFFF"/>
          </a:solidFill>
          <a:ln>
            <a:solidFill>
              <a:srgbClr val="000000"/>
            </a:solidFill>
            <a:miter lim="800000"/>
            <a:headEnd/>
            <a:tailEnd/>
          </a:ln>
        </p:spPr>
        <p:txBody>
          <a:bodyPr/>
          <a:lstStyle/>
          <a:p>
            <a:r>
              <a:rPr lang="en-GB" altLang="en-US"/>
              <a:t>As light enters the core, it may be travelling at a slight angle, and will hit the refractive index boundary.  As long as the angle of incidence is shallow, the boundary will act as a mirror, and reflect the light back into the core at exactly the same angle.  This phenomenon is known as Total Internal Reflection, and I’ve given some references to the topic in your Further Reading section.  So instead of leaving the fibre, the light is guided down it, bouncing off the sides as it goes.</a:t>
            </a:r>
          </a:p>
        </p:txBody>
      </p:sp>
    </p:spTree>
    <p:extLst>
      <p:ext uri="{BB962C8B-B14F-4D97-AF65-F5344CB8AC3E}">
        <p14:creationId xmlns:p14="http://schemas.microsoft.com/office/powerpoint/2010/main" val="3691877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Metro">
    <p:bg>
      <p:bgPr>
        <a:gradFill>
          <a:gsLst>
            <a:gs pos="0">
              <a:schemeClr val="accent1"/>
            </a:gs>
            <a:gs pos="100000">
              <a:schemeClr val="accent3"/>
            </a:gs>
          </a:gsLst>
          <a:lin ang="27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2A21FF4-95D7-4120-B400-D0D4051922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3" y="0"/>
            <a:ext cx="12181173" cy="6858000"/>
          </a:xfrm>
          <a:prstGeom prst="rect">
            <a:avLst/>
          </a:prstGeom>
        </p:spPr>
      </p:pic>
      <p:sp>
        <p:nvSpPr>
          <p:cNvPr id="8" name="Title 7"/>
          <p:cNvSpPr>
            <a:spLocks noGrp="1"/>
          </p:cNvSpPr>
          <p:nvPr>
            <p:ph type="title" hasCustomPrompt="1"/>
          </p:nvPr>
        </p:nvSpPr>
        <p:spPr>
          <a:xfrm>
            <a:off x="413525" y="2409545"/>
            <a:ext cx="6651063" cy="926275"/>
          </a:xfrm>
        </p:spPr>
        <p:txBody>
          <a:bodyPr vert="horz" lIns="0" tIns="45720" rIns="91440" bIns="45720" rtlCol="0" anchor="b" anchorCtr="0">
            <a:noAutofit/>
          </a:bodyPr>
          <a:lstStyle>
            <a:lvl1pPr>
              <a:defRPr lang="en-US" sz="5400">
                <a:solidFill>
                  <a:schemeClr val="bg1"/>
                </a:solidFill>
              </a:defRPr>
            </a:lvl1pPr>
          </a:lstStyle>
          <a:p>
            <a:pPr marL="0" lvl="0"/>
            <a:r>
              <a:rPr lang="en-US" dirty="0"/>
              <a:t>Enter the title of the presentation here</a:t>
            </a:r>
          </a:p>
        </p:txBody>
      </p:sp>
      <p:sp>
        <p:nvSpPr>
          <p:cNvPr id="13" name="Text Placeholder 11"/>
          <p:cNvSpPr>
            <a:spLocks noGrp="1"/>
          </p:cNvSpPr>
          <p:nvPr>
            <p:ph type="body" sz="quarter" idx="10" hasCustomPrompt="1"/>
          </p:nvPr>
        </p:nvSpPr>
        <p:spPr>
          <a:xfrm>
            <a:off x="447390" y="3349283"/>
            <a:ext cx="5648611" cy="400110"/>
          </a:xfrm>
          <a:noFill/>
        </p:spPr>
        <p:txBody>
          <a:bodyPr wrap="square" rtlCol="0">
            <a:spAutoFit/>
          </a:bodyPr>
          <a:lstStyle>
            <a:lvl1pPr marL="0" indent="0">
              <a:buFontTx/>
              <a:buNone/>
              <a:defRPr lang="en-US" sz="2000" dirty="0" smtClean="0">
                <a:solidFill>
                  <a:schemeClr val="bg1"/>
                </a:solidFill>
                <a:latin typeface="+mn-lt"/>
                <a:cs typeface="Arial"/>
              </a:defRPr>
            </a:lvl1pPr>
          </a:lstStyle>
          <a:p>
            <a:pPr marL="0" lvl="0"/>
            <a:r>
              <a:rPr lang="en-US" dirty="0"/>
              <a:t>Name of Presenter</a:t>
            </a:r>
          </a:p>
        </p:txBody>
      </p:sp>
      <p:pic>
        <p:nvPicPr>
          <p:cNvPr id="7" name="Picture 6">
            <a:extLst>
              <a:ext uri="{FF2B5EF4-FFF2-40B4-BE49-F238E27FC236}">
                <a16:creationId xmlns:a16="http://schemas.microsoft.com/office/drawing/2014/main" id="{5286A7E5-00D0-45B9-9A0F-D1C02666A58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40617" y="522627"/>
            <a:ext cx="2366611" cy="651836"/>
          </a:xfrm>
          <a:prstGeom prst="rect">
            <a:avLst/>
          </a:prstGeom>
        </p:spPr>
      </p:pic>
      <p:sp>
        <p:nvSpPr>
          <p:cNvPr id="9" name="Text Placeholder 11">
            <a:extLst>
              <a:ext uri="{FF2B5EF4-FFF2-40B4-BE49-F238E27FC236}">
                <a16:creationId xmlns:a16="http://schemas.microsoft.com/office/drawing/2014/main" id="{0F6F84BC-61AD-4C9D-9A4C-BBC547E77056}"/>
              </a:ext>
            </a:extLst>
          </p:cNvPr>
          <p:cNvSpPr>
            <a:spLocks noGrp="1"/>
          </p:cNvSpPr>
          <p:nvPr>
            <p:ph type="body" sz="quarter" idx="11" hasCustomPrompt="1"/>
          </p:nvPr>
        </p:nvSpPr>
        <p:spPr>
          <a:xfrm>
            <a:off x="456914" y="3801722"/>
            <a:ext cx="5648611" cy="400110"/>
          </a:xfrm>
          <a:noFill/>
        </p:spPr>
        <p:txBody>
          <a:bodyPr wrap="square" rtlCol="0">
            <a:spAutoFit/>
          </a:bodyPr>
          <a:lstStyle>
            <a:lvl1pPr marL="0" indent="0">
              <a:buFontTx/>
              <a:buNone/>
              <a:defRPr lang="en-US" sz="2000" dirty="0" smtClean="0">
                <a:solidFill>
                  <a:schemeClr val="bg1"/>
                </a:solidFill>
                <a:latin typeface="+mn-lt"/>
                <a:cs typeface="Arial"/>
              </a:defRPr>
            </a:lvl1pPr>
          </a:lstStyle>
          <a:p>
            <a:pPr marL="0" lvl="0"/>
            <a:r>
              <a:rPr lang="en-US" dirty="0"/>
              <a:t>Date</a:t>
            </a:r>
          </a:p>
        </p:txBody>
      </p:sp>
    </p:spTree>
    <p:extLst>
      <p:ext uri="{BB962C8B-B14F-4D97-AF65-F5344CB8AC3E}">
        <p14:creationId xmlns:p14="http://schemas.microsoft.com/office/powerpoint/2010/main" val="354137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hank You - Whit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D22A4BB-04A8-427D-A615-732676882C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708" y="0"/>
            <a:ext cx="12186583" cy="6857999"/>
          </a:xfrm>
          <a:prstGeom prst="rect">
            <a:avLst/>
          </a:prstGeom>
        </p:spPr>
      </p:pic>
      <p:sp>
        <p:nvSpPr>
          <p:cNvPr id="7" name="Title 7"/>
          <p:cNvSpPr>
            <a:spLocks noGrp="1"/>
          </p:cNvSpPr>
          <p:nvPr>
            <p:ph type="title" hasCustomPrompt="1"/>
          </p:nvPr>
        </p:nvSpPr>
        <p:spPr>
          <a:xfrm>
            <a:off x="415114" y="2502725"/>
            <a:ext cx="5648611" cy="926275"/>
          </a:xfrm>
        </p:spPr>
        <p:txBody>
          <a:bodyPr vert="horz" lIns="91440" tIns="45720" rIns="91440" bIns="45720" rtlCol="0" anchor="t" anchorCtr="0">
            <a:noAutofit/>
          </a:bodyPr>
          <a:lstStyle>
            <a:lvl1pPr>
              <a:defRPr lang="en-US" sz="6400">
                <a:solidFill>
                  <a:schemeClr val="tx2"/>
                </a:solidFill>
              </a:defRPr>
            </a:lvl1pPr>
          </a:lstStyle>
          <a:p>
            <a:pPr marL="0" lvl="0"/>
            <a:r>
              <a:rPr lang="en-US" dirty="0"/>
              <a:t>Thank You</a:t>
            </a:r>
          </a:p>
        </p:txBody>
      </p:sp>
      <p:pic>
        <p:nvPicPr>
          <p:cNvPr id="8" name="Picture 7">
            <a:extLst>
              <a:ext uri="{FF2B5EF4-FFF2-40B4-BE49-F238E27FC236}">
                <a16:creationId xmlns:a16="http://schemas.microsoft.com/office/drawing/2014/main" id="{B4C69239-E9F4-491D-B6B1-20868590D3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7550" y="691067"/>
            <a:ext cx="2470794" cy="680531"/>
          </a:xfrm>
          <a:prstGeom prst="rect">
            <a:avLst/>
          </a:prstGeom>
        </p:spPr>
      </p:pic>
    </p:spTree>
    <p:extLst>
      <p:ext uri="{BB962C8B-B14F-4D97-AF65-F5344CB8AC3E}">
        <p14:creationId xmlns:p14="http://schemas.microsoft.com/office/powerpoint/2010/main" val="27028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C1C22938-F39F-42C4-92AB-1BD00A56DB44}"/>
              </a:ext>
            </a:extLst>
          </p:cNvPr>
          <p:cNvSpPr/>
          <p:nvPr userDrawn="1"/>
        </p:nvSpPr>
        <p:spPr>
          <a:xfrm>
            <a:off x="443877" y="795526"/>
            <a:ext cx="11292840" cy="27432"/>
          </a:xfrm>
          <a:prstGeom prst="rect">
            <a:avLst/>
          </a:prstGeom>
          <a:gradFill>
            <a:gsLst>
              <a:gs pos="65500">
                <a:schemeClr val="accent3"/>
              </a:gs>
              <a:gs pos="100000">
                <a:srgbClr val="FB9414">
                  <a:alpha val="0"/>
                </a:srgbClr>
              </a:gs>
              <a:gs pos="0">
                <a:srgbClr val="FF3501"/>
              </a:gs>
            </a:gsLst>
            <a:lin ang="2400000" scaled="0"/>
          </a:gra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lumMod val="85000"/>
                  <a:lumOff val="15000"/>
                </a:srgbClr>
              </a:solidFill>
              <a:effectLst/>
              <a:uLnTx/>
              <a:uFillTx/>
              <a:latin typeface="Arial"/>
              <a:ea typeface="+mn-ea"/>
              <a:cs typeface="+mn-cs"/>
            </a:endParaRPr>
          </a:p>
        </p:txBody>
      </p:sp>
      <p:sp>
        <p:nvSpPr>
          <p:cNvPr id="4" name="Date Placeholder 3">
            <a:extLst>
              <a:ext uri="{FF2B5EF4-FFF2-40B4-BE49-F238E27FC236}">
                <a16:creationId xmlns:a16="http://schemas.microsoft.com/office/drawing/2014/main" id="{70860926-43A7-4D36-964A-169DC8EDF6C7}"/>
              </a:ext>
            </a:extLst>
          </p:cNvPr>
          <p:cNvSpPr>
            <a:spLocks noGrp="1"/>
          </p:cNvSpPr>
          <p:nvPr>
            <p:ph type="dt" sz="half" idx="10"/>
          </p:nvPr>
        </p:nvSpPr>
        <p:spPr>
          <a:xfrm>
            <a:off x="4284571" y="6459545"/>
            <a:ext cx="2868206" cy="163997"/>
          </a:xfrm>
          <a:prstGeom prst="rect">
            <a:avLst/>
          </a:prstGeom>
        </p:spPr>
        <p:txBody>
          <a:bodyPr/>
          <a:lstStyle/>
          <a:p>
            <a:r>
              <a:rPr lang="en-US">
                <a:solidFill>
                  <a:schemeClr val="bg1">
                    <a:lumMod val="75000"/>
                  </a:schemeClr>
                </a:solidFill>
              </a:rPr>
              <a:t>© </a:t>
            </a:r>
            <a:fld id="{1DB53029-8A66-45E0-82CE-084A3FA17CA0}" type="datetimeyyyy">
              <a:rPr lang="en-US" smtClean="0"/>
              <a:t>2022</a:t>
            </a:fld>
            <a:r>
              <a:rPr lang="en-US">
                <a:solidFill>
                  <a:schemeClr val="bg1">
                    <a:lumMod val="75000"/>
                  </a:schemeClr>
                </a:solidFill>
              </a:rPr>
              <a:t> Infinera. All rights reserved. Company Confidential.</a:t>
            </a:r>
            <a:endParaRPr lang="en-US" dirty="0"/>
          </a:p>
        </p:txBody>
      </p:sp>
    </p:spTree>
    <p:extLst>
      <p:ext uri="{BB962C8B-B14F-4D97-AF65-F5344CB8AC3E}">
        <p14:creationId xmlns:p14="http://schemas.microsoft.com/office/powerpoint/2010/main" val="336071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09ECA-4C6C-43AC-9CF8-7778E9694330}"/>
              </a:ext>
            </a:extLst>
          </p:cNvPr>
          <p:cNvSpPr>
            <a:spLocks noGrp="1"/>
          </p:cNvSpPr>
          <p:nvPr>
            <p:ph type="title"/>
          </p:nvPr>
        </p:nvSpPr>
        <p:spPr/>
        <p:txBody>
          <a:bodyPr/>
          <a:lstStyle/>
          <a:p>
            <a:r>
              <a:rPr lang="en-US"/>
              <a:t>Click to edit Master title style</a:t>
            </a:r>
            <a:endParaRPr lang="en-US" dirty="0"/>
          </a:p>
        </p:txBody>
      </p:sp>
      <p:sp>
        <p:nvSpPr>
          <p:cNvPr id="6" name="Rectangle 5">
            <a:extLst>
              <a:ext uri="{FF2B5EF4-FFF2-40B4-BE49-F238E27FC236}">
                <a16:creationId xmlns:a16="http://schemas.microsoft.com/office/drawing/2014/main" id="{657380EA-E11C-427F-A837-E9739C5031F8}"/>
              </a:ext>
            </a:extLst>
          </p:cNvPr>
          <p:cNvSpPr/>
          <p:nvPr userDrawn="1"/>
        </p:nvSpPr>
        <p:spPr>
          <a:xfrm>
            <a:off x="443877" y="795526"/>
            <a:ext cx="11292840" cy="27432"/>
          </a:xfrm>
          <a:prstGeom prst="rect">
            <a:avLst/>
          </a:prstGeom>
          <a:gradFill>
            <a:gsLst>
              <a:gs pos="65500">
                <a:schemeClr val="accent3"/>
              </a:gs>
              <a:gs pos="100000">
                <a:srgbClr val="FB9414">
                  <a:alpha val="0"/>
                </a:srgbClr>
              </a:gs>
              <a:gs pos="0">
                <a:srgbClr val="FF3501"/>
              </a:gs>
            </a:gsLst>
            <a:lin ang="2400000" scaled="0"/>
          </a:gra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lumMod val="85000"/>
                  <a:lumOff val="15000"/>
                </a:srgbClr>
              </a:solidFill>
              <a:effectLst/>
              <a:uLnTx/>
              <a:uFillTx/>
              <a:latin typeface="Arial"/>
              <a:ea typeface="+mn-ea"/>
              <a:cs typeface="+mn-cs"/>
            </a:endParaRPr>
          </a:p>
        </p:txBody>
      </p:sp>
      <p:sp>
        <p:nvSpPr>
          <p:cNvPr id="3" name="Date Placeholder 2">
            <a:extLst>
              <a:ext uri="{FF2B5EF4-FFF2-40B4-BE49-F238E27FC236}">
                <a16:creationId xmlns:a16="http://schemas.microsoft.com/office/drawing/2014/main" id="{24EF52AC-1B49-41CB-8EAA-A79BC998AFCF}"/>
              </a:ext>
            </a:extLst>
          </p:cNvPr>
          <p:cNvSpPr>
            <a:spLocks noGrp="1"/>
          </p:cNvSpPr>
          <p:nvPr>
            <p:ph type="dt" sz="half" idx="10"/>
          </p:nvPr>
        </p:nvSpPr>
        <p:spPr>
          <a:xfrm>
            <a:off x="4284571" y="6459545"/>
            <a:ext cx="2868206" cy="163997"/>
          </a:xfrm>
          <a:prstGeom prst="rect">
            <a:avLst/>
          </a:prstGeom>
        </p:spPr>
        <p:txBody>
          <a:bodyPr/>
          <a:lstStyle/>
          <a:p>
            <a:r>
              <a:rPr lang="en-US">
                <a:solidFill>
                  <a:schemeClr val="bg1">
                    <a:lumMod val="75000"/>
                  </a:schemeClr>
                </a:solidFill>
              </a:rPr>
              <a:t>© </a:t>
            </a:r>
            <a:fld id="{1DB53029-8A66-45E0-82CE-084A3FA17CA0}" type="datetimeyyyy">
              <a:rPr lang="en-US" smtClean="0"/>
              <a:t>2022</a:t>
            </a:fld>
            <a:r>
              <a:rPr lang="en-US">
                <a:solidFill>
                  <a:schemeClr val="bg1">
                    <a:lumMod val="75000"/>
                  </a:schemeClr>
                </a:solidFill>
              </a:rPr>
              <a:t> Infinera. All rights reserved. Company Confidential.</a:t>
            </a:r>
            <a:endParaRPr lang="en-US" dirty="0"/>
          </a:p>
        </p:txBody>
      </p:sp>
    </p:spTree>
    <p:extLst>
      <p:ext uri="{BB962C8B-B14F-4D97-AF65-F5344CB8AC3E}">
        <p14:creationId xmlns:p14="http://schemas.microsoft.com/office/powerpoint/2010/main" val="55178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09ECA-4C6C-43AC-9CF8-7778E9694330}"/>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0673C894-87B5-45A5-913F-706FA10E2E75}"/>
              </a:ext>
            </a:extLst>
          </p:cNvPr>
          <p:cNvSpPr>
            <a:spLocks noGrp="1"/>
          </p:cNvSpPr>
          <p:nvPr>
            <p:ph type="dt" sz="half" idx="10"/>
          </p:nvPr>
        </p:nvSpPr>
        <p:spPr>
          <a:xfrm>
            <a:off x="4284571" y="6459545"/>
            <a:ext cx="2868206" cy="163997"/>
          </a:xfrm>
          <a:prstGeom prst="rect">
            <a:avLst/>
          </a:prstGeom>
        </p:spPr>
        <p:txBody>
          <a:bodyPr/>
          <a:lstStyle/>
          <a:p>
            <a:r>
              <a:rPr lang="en-US">
                <a:solidFill>
                  <a:schemeClr val="bg1">
                    <a:lumMod val="75000"/>
                  </a:schemeClr>
                </a:solidFill>
              </a:rPr>
              <a:t>© </a:t>
            </a:r>
            <a:fld id="{1DB53029-8A66-45E0-82CE-084A3FA17CA0}" type="datetimeyyyy">
              <a:rPr lang="en-US" smtClean="0"/>
              <a:t>2022</a:t>
            </a:fld>
            <a:r>
              <a:rPr lang="en-US">
                <a:solidFill>
                  <a:schemeClr val="bg1">
                    <a:lumMod val="75000"/>
                  </a:schemeClr>
                </a:solidFill>
              </a:rPr>
              <a:t> Infinera. All rights reserved. Company Confidential.</a:t>
            </a:r>
            <a:endParaRPr lang="en-US" dirty="0"/>
          </a:p>
        </p:txBody>
      </p:sp>
    </p:spTree>
    <p:extLst>
      <p:ext uri="{BB962C8B-B14F-4D97-AF65-F5344CB8AC3E}">
        <p14:creationId xmlns:p14="http://schemas.microsoft.com/office/powerpoint/2010/main" val="258417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Dynamic –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A0E9E-BFC3-4D87-8B67-48A193587B1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D859637E-E6AB-49F6-9120-BF3251584CE8}"/>
              </a:ext>
            </a:extLst>
          </p:cNvPr>
          <p:cNvSpPr>
            <a:spLocks noGrp="1"/>
          </p:cNvSpPr>
          <p:nvPr>
            <p:ph type="body" sz="quarter" idx="12"/>
          </p:nvPr>
        </p:nvSpPr>
        <p:spPr>
          <a:xfrm>
            <a:off x="444500" y="1257300"/>
            <a:ext cx="3949700" cy="463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9A906506-7692-4471-B0A7-656F9E27FBBA}"/>
              </a:ext>
            </a:extLst>
          </p:cNvPr>
          <p:cNvSpPr>
            <a:spLocks noGrp="1"/>
          </p:cNvSpPr>
          <p:nvPr>
            <p:ph type="body" sz="quarter" idx="13"/>
          </p:nvPr>
        </p:nvSpPr>
        <p:spPr>
          <a:xfrm>
            <a:off x="4648200" y="1257300"/>
            <a:ext cx="6968966" cy="463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364ADD2F-1E47-456E-9F49-904D1E8D175F}"/>
              </a:ext>
            </a:extLst>
          </p:cNvPr>
          <p:cNvSpPr/>
          <p:nvPr userDrawn="1"/>
        </p:nvSpPr>
        <p:spPr>
          <a:xfrm>
            <a:off x="443877" y="795526"/>
            <a:ext cx="11292840" cy="27432"/>
          </a:xfrm>
          <a:prstGeom prst="rect">
            <a:avLst/>
          </a:prstGeom>
          <a:gradFill>
            <a:gsLst>
              <a:gs pos="65500">
                <a:schemeClr val="accent3"/>
              </a:gs>
              <a:gs pos="100000">
                <a:srgbClr val="FB9414">
                  <a:alpha val="0"/>
                </a:srgbClr>
              </a:gs>
              <a:gs pos="0">
                <a:srgbClr val="FF3501"/>
              </a:gs>
            </a:gsLst>
            <a:lin ang="2400000" scaled="0"/>
          </a:gra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lumMod val="85000"/>
                  <a:lumOff val="15000"/>
                </a:srgbClr>
              </a:solidFill>
              <a:effectLst/>
              <a:uLnTx/>
              <a:uFillTx/>
              <a:latin typeface="Arial"/>
              <a:ea typeface="+mn-ea"/>
              <a:cs typeface="+mn-cs"/>
            </a:endParaRPr>
          </a:p>
        </p:txBody>
      </p:sp>
      <p:sp>
        <p:nvSpPr>
          <p:cNvPr id="3" name="Date Placeholder 2">
            <a:extLst>
              <a:ext uri="{FF2B5EF4-FFF2-40B4-BE49-F238E27FC236}">
                <a16:creationId xmlns:a16="http://schemas.microsoft.com/office/drawing/2014/main" id="{11ADD41B-97CF-4045-A58F-39FC81DDCDF7}"/>
              </a:ext>
            </a:extLst>
          </p:cNvPr>
          <p:cNvSpPr>
            <a:spLocks noGrp="1"/>
          </p:cNvSpPr>
          <p:nvPr>
            <p:ph type="dt" sz="half" idx="14"/>
          </p:nvPr>
        </p:nvSpPr>
        <p:spPr>
          <a:xfrm>
            <a:off x="4284571" y="6459545"/>
            <a:ext cx="2868206" cy="163997"/>
          </a:xfrm>
          <a:prstGeom prst="rect">
            <a:avLst/>
          </a:prstGeom>
        </p:spPr>
        <p:txBody>
          <a:bodyPr/>
          <a:lstStyle/>
          <a:p>
            <a:r>
              <a:rPr lang="en-US">
                <a:solidFill>
                  <a:schemeClr val="bg1">
                    <a:lumMod val="75000"/>
                  </a:schemeClr>
                </a:solidFill>
              </a:rPr>
              <a:t>© </a:t>
            </a:r>
            <a:fld id="{1DB53029-8A66-45E0-82CE-084A3FA17CA0}" type="datetimeyyyy">
              <a:rPr lang="en-US" smtClean="0"/>
              <a:t>2022</a:t>
            </a:fld>
            <a:r>
              <a:rPr lang="en-US">
                <a:solidFill>
                  <a:schemeClr val="bg1">
                    <a:lumMod val="75000"/>
                  </a:schemeClr>
                </a:solidFill>
              </a:rPr>
              <a:t> Infinera. All rights reserved. Company Confidential.</a:t>
            </a:r>
            <a:endParaRPr lang="en-US" dirty="0"/>
          </a:p>
        </p:txBody>
      </p:sp>
    </p:spTree>
    <p:extLst>
      <p:ext uri="{BB962C8B-B14F-4D97-AF65-F5344CB8AC3E}">
        <p14:creationId xmlns:p14="http://schemas.microsoft.com/office/powerpoint/2010/main" val="225532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ransition Slide">
    <p:bg>
      <p:bgPr>
        <a:gradFill>
          <a:gsLst>
            <a:gs pos="0">
              <a:srgbClr val="414143"/>
            </a:gs>
            <a:gs pos="100000">
              <a:srgbClr val="6F6F71"/>
            </a:gs>
          </a:gsLst>
          <a:lin ang="27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79CA3E-A012-45E9-B093-E06A99B9BCF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4178"/>
          <a:stretch/>
        </p:blipFill>
        <p:spPr>
          <a:xfrm>
            <a:off x="6605336" y="0"/>
            <a:ext cx="5586663" cy="6858000"/>
          </a:xfrm>
          <a:prstGeom prst="rect">
            <a:avLst/>
          </a:prstGeom>
        </p:spPr>
      </p:pic>
      <p:sp>
        <p:nvSpPr>
          <p:cNvPr id="7" name="Title 7"/>
          <p:cNvSpPr>
            <a:spLocks noGrp="1"/>
          </p:cNvSpPr>
          <p:nvPr>
            <p:ph type="title" hasCustomPrompt="1"/>
          </p:nvPr>
        </p:nvSpPr>
        <p:spPr>
          <a:xfrm>
            <a:off x="405282" y="2502725"/>
            <a:ext cx="5648611" cy="926275"/>
          </a:xfrm>
        </p:spPr>
        <p:txBody>
          <a:bodyPr vert="horz" lIns="91440" tIns="45720" rIns="91440" bIns="45720" rtlCol="0" anchor="t" anchorCtr="0">
            <a:noAutofit/>
          </a:bodyPr>
          <a:lstStyle>
            <a:lvl1pPr>
              <a:defRPr lang="en-US" sz="4800">
                <a:solidFill>
                  <a:schemeClr val="bg1"/>
                </a:solidFill>
              </a:defRPr>
            </a:lvl1pPr>
          </a:lstStyle>
          <a:p>
            <a:pPr marL="0" lvl="0"/>
            <a:r>
              <a:rPr lang="en-US" dirty="0"/>
              <a:t>Enter the title of the divider slide here</a:t>
            </a:r>
          </a:p>
        </p:txBody>
      </p:sp>
      <p:pic>
        <p:nvPicPr>
          <p:cNvPr id="6" name="Picture 5">
            <a:extLst>
              <a:ext uri="{FF2B5EF4-FFF2-40B4-BE49-F238E27FC236}">
                <a16:creationId xmlns:a16="http://schemas.microsoft.com/office/drawing/2014/main" id="{A7FC865A-8768-4415-B2A5-C855A301E88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07550" y="722732"/>
            <a:ext cx="2470794" cy="617200"/>
          </a:xfrm>
          <a:prstGeom prst="rect">
            <a:avLst/>
          </a:prstGeom>
        </p:spPr>
      </p:pic>
    </p:spTree>
    <p:extLst>
      <p:ext uri="{BB962C8B-B14F-4D97-AF65-F5344CB8AC3E}">
        <p14:creationId xmlns:p14="http://schemas.microsoft.com/office/powerpoint/2010/main" val="296812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ransition Slide - White">
    <p:bg>
      <p:bgPr>
        <a:solidFill>
          <a:schemeClr val="bg1"/>
        </a:solidFill>
        <a:effectLst/>
      </p:bgPr>
    </p:bg>
    <p:spTree>
      <p:nvGrpSpPr>
        <p:cNvPr id="1" name=""/>
        <p:cNvGrpSpPr/>
        <p:nvPr/>
      </p:nvGrpSpPr>
      <p:grpSpPr>
        <a:xfrm>
          <a:off x="0" y="0"/>
          <a:ext cx="0" cy="0"/>
          <a:chOff x="0" y="0"/>
          <a:chExt cx="0" cy="0"/>
        </a:xfrm>
      </p:grpSpPr>
      <p:sp>
        <p:nvSpPr>
          <p:cNvPr id="7" name="Title 7"/>
          <p:cNvSpPr>
            <a:spLocks noGrp="1"/>
          </p:cNvSpPr>
          <p:nvPr>
            <p:ph type="title" hasCustomPrompt="1"/>
          </p:nvPr>
        </p:nvSpPr>
        <p:spPr>
          <a:xfrm>
            <a:off x="405282" y="2502725"/>
            <a:ext cx="5648611" cy="926275"/>
          </a:xfrm>
        </p:spPr>
        <p:txBody>
          <a:bodyPr vert="horz" lIns="91440" tIns="45720" rIns="91440" bIns="45720" rtlCol="0" anchor="t" anchorCtr="0">
            <a:noAutofit/>
          </a:bodyPr>
          <a:lstStyle>
            <a:lvl1pPr>
              <a:defRPr lang="en-US" sz="4800">
                <a:solidFill>
                  <a:schemeClr val="tx2"/>
                </a:solidFill>
              </a:defRPr>
            </a:lvl1pPr>
          </a:lstStyle>
          <a:p>
            <a:pPr marL="0" lvl="0"/>
            <a:r>
              <a:rPr lang="en-US" dirty="0"/>
              <a:t>Enter the title of the divider slide here</a:t>
            </a:r>
          </a:p>
        </p:txBody>
      </p:sp>
      <p:pic>
        <p:nvPicPr>
          <p:cNvPr id="8" name="Picture 7">
            <a:extLst>
              <a:ext uri="{FF2B5EF4-FFF2-40B4-BE49-F238E27FC236}">
                <a16:creationId xmlns:a16="http://schemas.microsoft.com/office/drawing/2014/main" id="{B4C69239-E9F4-491D-B6B1-20868590D3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7550" y="691067"/>
            <a:ext cx="2470794" cy="680531"/>
          </a:xfrm>
          <a:prstGeom prst="rect">
            <a:avLst/>
          </a:prstGeom>
        </p:spPr>
      </p:pic>
      <p:pic>
        <p:nvPicPr>
          <p:cNvPr id="2" name="Picture 1">
            <a:extLst>
              <a:ext uri="{FF2B5EF4-FFF2-40B4-BE49-F238E27FC236}">
                <a16:creationId xmlns:a16="http://schemas.microsoft.com/office/drawing/2014/main" id="{2D22A4BB-04A8-427D-A615-732676882C7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4128"/>
          <a:stretch/>
        </p:blipFill>
        <p:spPr>
          <a:xfrm>
            <a:off x="6599320" y="0"/>
            <a:ext cx="5592679" cy="6858000"/>
          </a:xfrm>
          <a:prstGeom prst="rect">
            <a:avLst/>
          </a:prstGeom>
        </p:spPr>
      </p:pic>
    </p:spTree>
    <p:extLst>
      <p:ext uri="{BB962C8B-B14F-4D97-AF65-F5344CB8AC3E}">
        <p14:creationId xmlns:p14="http://schemas.microsoft.com/office/powerpoint/2010/main" val="305076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Orange Gradient">
    <p:bg>
      <p:bgPr>
        <a:gradFill flip="none" rotWithShape="1">
          <a:gsLst>
            <a:gs pos="0">
              <a:schemeClr val="accent1"/>
            </a:gs>
            <a:gs pos="100000">
              <a:schemeClr val="accent3"/>
            </a:gs>
          </a:gsLst>
          <a:lin ang="2700000" scaled="1"/>
          <a:tileRect/>
        </a:gra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8D14B3B-75E1-45C2-912D-D58D974B59C2}"/>
              </a:ext>
            </a:extLst>
          </p:cNvPr>
          <p:cNvSpPr>
            <a:spLocks noGrp="1"/>
          </p:cNvSpPr>
          <p:nvPr>
            <p:ph type="body" sz="quarter" idx="11" hasCustomPrompt="1"/>
          </p:nvPr>
        </p:nvSpPr>
        <p:spPr>
          <a:xfrm>
            <a:off x="2173956" y="2821155"/>
            <a:ext cx="7844089" cy="1215690"/>
          </a:xfrm>
        </p:spPr>
        <p:txBody>
          <a:bodyPr>
            <a:normAutofit/>
          </a:bodyPr>
          <a:lstStyle>
            <a:lvl1pPr marL="0" indent="0">
              <a:buFontTx/>
              <a:buNone/>
              <a:defRPr sz="7200">
                <a:solidFill>
                  <a:schemeClr val="bg1"/>
                </a:solidFill>
              </a:defRPr>
            </a:lvl1pPr>
            <a:lvl2pPr marL="304792" indent="0">
              <a:buFontTx/>
              <a:buNone/>
              <a:defRPr/>
            </a:lvl2pPr>
            <a:lvl3pPr marL="535504" indent="0">
              <a:buFontTx/>
              <a:buNone/>
              <a:defRPr/>
            </a:lvl3pPr>
            <a:lvl4pPr marL="764098" indent="0">
              <a:buFontTx/>
              <a:buNone/>
              <a:defRPr/>
            </a:lvl4pPr>
            <a:lvl5pPr marL="988458" indent="0">
              <a:buFontTx/>
              <a:buNone/>
              <a:defRPr/>
            </a:lvl5pPr>
          </a:lstStyle>
          <a:p>
            <a:pPr lvl="0"/>
            <a:r>
              <a:rPr lang="en-US" dirty="0" err="1"/>
              <a:t>Misc</a:t>
            </a:r>
            <a:r>
              <a:rPr lang="en-US" dirty="0"/>
              <a:t> Large Text Slide</a:t>
            </a:r>
          </a:p>
        </p:txBody>
      </p:sp>
    </p:spTree>
    <p:extLst>
      <p:ext uri="{BB962C8B-B14F-4D97-AF65-F5344CB8AC3E}">
        <p14:creationId xmlns:p14="http://schemas.microsoft.com/office/powerpoint/2010/main" val="121188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p:bg>
      <p:bgPr>
        <a:gradFill>
          <a:gsLst>
            <a:gs pos="0">
              <a:srgbClr val="414143"/>
            </a:gs>
            <a:gs pos="100000">
              <a:srgbClr val="6F6F71"/>
            </a:gs>
          </a:gsLst>
          <a:lin ang="27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79CA3E-A012-45E9-B093-E06A99B9BC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708" y="0"/>
            <a:ext cx="12186583" cy="6857999"/>
          </a:xfrm>
          <a:prstGeom prst="rect">
            <a:avLst/>
          </a:prstGeom>
        </p:spPr>
      </p:pic>
      <p:sp>
        <p:nvSpPr>
          <p:cNvPr id="7" name="Title 7"/>
          <p:cNvSpPr>
            <a:spLocks noGrp="1"/>
          </p:cNvSpPr>
          <p:nvPr>
            <p:ph type="title" hasCustomPrompt="1"/>
          </p:nvPr>
        </p:nvSpPr>
        <p:spPr>
          <a:xfrm>
            <a:off x="415114" y="2502725"/>
            <a:ext cx="5648611" cy="926275"/>
          </a:xfrm>
        </p:spPr>
        <p:txBody>
          <a:bodyPr vert="horz" lIns="91440" tIns="45720" rIns="91440" bIns="45720" rtlCol="0" anchor="t" anchorCtr="0">
            <a:noAutofit/>
          </a:bodyPr>
          <a:lstStyle>
            <a:lvl1pPr>
              <a:defRPr lang="en-US" sz="6400">
                <a:solidFill>
                  <a:schemeClr val="bg1"/>
                </a:solidFill>
              </a:defRPr>
            </a:lvl1pPr>
          </a:lstStyle>
          <a:p>
            <a:pPr marL="0" lvl="0"/>
            <a:r>
              <a:rPr lang="en-US" dirty="0"/>
              <a:t>Thank You</a:t>
            </a:r>
          </a:p>
        </p:txBody>
      </p:sp>
      <p:pic>
        <p:nvPicPr>
          <p:cNvPr id="6" name="Picture 5">
            <a:extLst>
              <a:ext uri="{FF2B5EF4-FFF2-40B4-BE49-F238E27FC236}">
                <a16:creationId xmlns:a16="http://schemas.microsoft.com/office/drawing/2014/main" id="{A7FC865A-8768-4415-B2A5-C855A301E88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07550" y="722732"/>
            <a:ext cx="2470794" cy="617200"/>
          </a:xfrm>
          <a:prstGeom prst="rect">
            <a:avLst/>
          </a:prstGeom>
        </p:spPr>
      </p:pic>
    </p:spTree>
    <p:extLst>
      <p:ext uri="{BB962C8B-B14F-4D97-AF65-F5344CB8AC3E}">
        <p14:creationId xmlns:p14="http://schemas.microsoft.com/office/powerpoint/2010/main" val="131888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ight Triangle 6">
            <a:extLst>
              <a:ext uri="{FF2B5EF4-FFF2-40B4-BE49-F238E27FC236}">
                <a16:creationId xmlns:a16="http://schemas.microsoft.com/office/drawing/2014/main" id="{5BE3BD43-2E76-40E9-BBF0-42D93BC85F44}"/>
              </a:ext>
            </a:extLst>
          </p:cNvPr>
          <p:cNvSpPr/>
          <p:nvPr userDrawn="1"/>
        </p:nvSpPr>
        <p:spPr>
          <a:xfrm flipH="1">
            <a:off x="9947868" y="5782826"/>
            <a:ext cx="2244128" cy="1075174"/>
          </a:xfrm>
          <a:custGeom>
            <a:avLst/>
            <a:gdLst>
              <a:gd name="connsiteX0" fmla="*/ 0 w 2063261"/>
              <a:gd name="connsiteY0" fmla="*/ 1803679 h 1803679"/>
              <a:gd name="connsiteX1" fmla="*/ 0 w 2063261"/>
              <a:gd name="connsiteY1" fmla="*/ 0 h 1803679"/>
              <a:gd name="connsiteX2" fmla="*/ 2063261 w 2063261"/>
              <a:gd name="connsiteY2" fmla="*/ 1803679 h 1803679"/>
              <a:gd name="connsiteX3" fmla="*/ 0 w 2063261"/>
              <a:gd name="connsiteY3" fmla="*/ 1803679 h 1803679"/>
              <a:gd name="connsiteX0" fmla="*/ 0 w 2063261"/>
              <a:gd name="connsiteY0" fmla="*/ 1803679 h 1803679"/>
              <a:gd name="connsiteX1" fmla="*/ 0 w 2063261"/>
              <a:gd name="connsiteY1" fmla="*/ 0 h 1803679"/>
              <a:gd name="connsiteX2" fmla="*/ 2063261 w 2063261"/>
              <a:gd name="connsiteY2" fmla="*/ 1803679 h 1803679"/>
              <a:gd name="connsiteX3" fmla="*/ 0 w 2063261"/>
              <a:gd name="connsiteY3" fmla="*/ 1803679 h 1803679"/>
              <a:gd name="connsiteX0" fmla="*/ 0 w 2063261"/>
              <a:gd name="connsiteY0" fmla="*/ 1803679 h 1803679"/>
              <a:gd name="connsiteX1" fmla="*/ 0 w 2063261"/>
              <a:gd name="connsiteY1" fmla="*/ 0 h 1803679"/>
              <a:gd name="connsiteX2" fmla="*/ 2063261 w 2063261"/>
              <a:gd name="connsiteY2" fmla="*/ 1803679 h 1803679"/>
              <a:gd name="connsiteX3" fmla="*/ 0 w 2063261"/>
              <a:gd name="connsiteY3" fmla="*/ 1803679 h 1803679"/>
            </a:gdLst>
            <a:ahLst/>
            <a:cxnLst>
              <a:cxn ang="0">
                <a:pos x="connsiteX0" y="connsiteY0"/>
              </a:cxn>
              <a:cxn ang="0">
                <a:pos x="connsiteX1" y="connsiteY1"/>
              </a:cxn>
              <a:cxn ang="0">
                <a:pos x="connsiteX2" y="connsiteY2"/>
              </a:cxn>
              <a:cxn ang="0">
                <a:pos x="connsiteX3" y="connsiteY3"/>
              </a:cxn>
            </a:cxnLst>
            <a:rect l="l" t="t" r="r" b="b"/>
            <a:pathLst>
              <a:path w="2063261" h="1803679">
                <a:moveTo>
                  <a:pt x="0" y="1803679"/>
                </a:moveTo>
                <a:lnTo>
                  <a:pt x="0" y="0"/>
                </a:lnTo>
                <a:cubicBezTo>
                  <a:pt x="346110" y="1013209"/>
                  <a:pt x="807775" y="1629508"/>
                  <a:pt x="2063261" y="1803679"/>
                </a:cubicBezTo>
                <a:lnTo>
                  <a:pt x="0" y="1803679"/>
                </a:lnTo>
                <a:close/>
              </a:path>
            </a:pathLst>
          </a:custGeom>
          <a:gradFill>
            <a:gsLst>
              <a:gs pos="0">
                <a:schemeClr val="accent1"/>
              </a:gs>
              <a:gs pos="100000">
                <a:schemeClr val="accent3"/>
              </a:gs>
            </a:gsLst>
            <a:lin ang="2700000" scaled="1"/>
          </a:gra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tx1">
                  <a:lumMod val="85000"/>
                  <a:lumOff val="15000"/>
                </a:schemeClr>
              </a:solidFill>
            </a:endParaRPr>
          </a:p>
        </p:txBody>
      </p:sp>
      <p:sp>
        <p:nvSpPr>
          <p:cNvPr id="2" name="Title Placeholder 1"/>
          <p:cNvSpPr>
            <a:spLocks noGrp="1"/>
          </p:cNvSpPr>
          <p:nvPr>
            <p:ph type="title"/>
          </p:nvPr>
        </p:nvSpPr>
        <p:spPr>
          <a:xfrm>
            <a:off x="443877" y="9099"/>
            <a:ext cx="11173289" cy="809287"/>
          </a:xfrm>
          <a:prstGeom prst="rect">
            <a:avLst/>
          </a:prstGeom>
        </p:spPr>
        <p:txBody>
          <a:bodyPr vert="horz" lIns="0" tIns="45720" rIns="91440" bIns="45720" rtlCol="0" anchor="ctr"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443877" y="1267424"/>
            <a:ext cx="11173289" cy="4871976"/>
          </a:xfrm>
          <a:prstGeom prst="rect">
            <a:avLst/>
          </a:prstGeom>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empower - DO NOT DELETE!!!" hidden="1">
            <a:extLst>
              <a:ext uri="{FF2B5EF4-FFF2-40B4-BE49-F238E27FC236}">
                <a16:creationId xmlns:a16="http://schemas.microsoft.com/office/drawing/2014/main" id="{6B5D24AA-1A74-4598-B7E1-36D527253B62}"/>
              </a:ext>
            </a:extLst>
          </p:cNvPr>
          <p:cNvSpPr/>
          <p:nvPr>
            <p:custDataLst>
              <p:tags r:id="rId12"/>
            </p:custDataLst>
          </p:nvPr>
        </p:nvSpPr>
        <p:spPr>
          <a:xfrm>
            <a:off x="0" y="0"/>
            <a:ext cx="0" cy="0"/>
          </a:xfrm>
          <a:prstGeom prst="ellipse">
            <a:avLst/>
          </a:prstGeom>
          <a:solidFill>
            <a:schemeClr val="bg1"/>
          </a:solidFill>
          <a:ln w="12700">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3200" err="1">
              <a:solidFill>
                <a:schemeClr val="tx1">
                  <a:lumMod val="85000"/>
                  <a:lumOff val="15000"/>
                </a:schemeClr>
              </a:solidFill>
            </a:endParaRPr>
          </a:p>
        </p:txBody>
      </p:sp>
      <p:sp>
        <p:nvSpPr>
          <p:cNvPr id="8" name="empower - DO NOT DELETE!!!" hidden="1">
            <a:extLst>
              <a:ext uri="{FF2B5EF4-FFF2-40B4-BE49-F238E27FC236}">
                <a16:creationId xmlns:a16="http://schemas.microsoft.com/office/drawing/2014/main" id="{9AE2D300-785E-4BF7-ACE8-C421754FCA2F}"/>
              </a:ext>
            </a:extLst>
          </p:cNvPr>
          <p:cNvSpPr/>
          <p:nvPr userDrawn="1">
            <p:custDataLst>
              <p:tags r:id="rId13"/>
            </p:custDataLst>
          </p:nvPr>
        </p:nvSpPr>
        <p:spPr>
          <a:xfrm>
            <a:off x="0" y="0"/>
            <a:ext cx="0" cy="0"/>
          </a:xfrm>
          <a:prstGeom prst="ellipse">
            <a:avLst/>
          </a:prstGeom>
          <a:solidFill>
            <a:schemeClr val="bg1"/>
          </a:solidFill>
          <a:ln w="12700">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3200" err="1">
              <a:solidFill>
                <a:schemeClr val="tx1">
                  <a:lumMod val="85000"/>
                  <a:lumOff val="15000"/>
                </a:schemeClr>
              </a:solidFill>
            </a:endParaRPr>
          </a:p>
        </p:txBody>
      </p:sp>
      <p:pic>
        <p:nvPicPr>
          <p:cNvPr id="10" name="Picture 9">
            <a:extLst>
              <a:ext uri="{FF2B5EF4-FFF2-40B4-BE49-F238E27FC236}">
                <a16:creationId xmlns:a16="http://schemas.microsoft.com/office/drawing/2014/main" id="{56BDD8E1-1A5F-4459-ABDE-40EC5CDA9239}"/>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57202" y="6449595"/>
            <a:ext cx="920813" cy="253620"/>
          </a:xfrm>
          <a:prstGeom prst="rect">
            <a:avLst/>
          </a:prstGeom>
        </p:spPr>
      </p:pic>
      <p:sp>
        <p:nvSpPr>
          <p:cNvPr id="5" name="TextBox 4">
            <a:extLst>
              <a:ext uri="{FF2B5EF4-FFF2-40B4-BE49-F238E27FC236}">
                <a16:creationId xmlns:a16="http://schemas.microsoft.com/office/drawing/2014/main" id="{A0815639-1B52-4AEE-9674-86D96C041D4F}"/>
              </a:ext>
            </a:extLst>
          </p:cNvPr>
          <p:cNvSpPr txBox="1"/>
          <p:nvPr userDrawn="1"/>
        </p:nvSpPr>
        <p:spPr>
          <a:xfrm>
            <a:off x="11655849" y="6466861"/>
            <a:ext cx="367408" cy="276999"/>
          </a:xfrm>
          <a:prstGeom prst="rect">
            <a:avLst/>
          </a:prstGeom>
        </p:spPr>
        <p:txBody>
          <a:bodyPr vert="horz" wrap="none" lIns="91440" tIns="45720" rIns="91440" bIns="45720" rtlCol="0">
            <a:spAutoFit/>
          </a:bodyPr>
          <a:lstStyle/>
          <a:p>
            <a:pPr algn="l">
              <a:spcBef>
                <a:spcPct val="20000"/>
              </a:spcBef>
              <a:buClr>
                <a:srgbClr val="6D6E71"/>
              </a:buClr>
            </a:pPr>
            <a:fld id="{C511D8BD-32BB-44F0-BAEA-0E3D368F8708}" type="slidenum">
              <a:rPr lang="en-GB" sz="1200" smtClean="0">
                <a:solidFill>
                  <a:schemeClr val="bg1"/>
                </a:solidFill>
                <a:latin typeface="+mn-lt"/>
              </a:rPr>
              <a:t>‹#›</a:t>
            </a:fld>
            <a:endParaRPr lang="en-GB" sz="1200" dirty="0" err="1">
              <a:solidFill>
                <a:schemeClr val="bg1"/>
              </a:solidFill>
              <a:latin typeface="+mn-lt"/>
            </a:endParaRPr>
          </a:p>
        </p:txBody>
      </p:sp>
    </p:spTree>
    <p:extLst>
      <p:ext uri="{BB962C8B-B14F-4D97-AF65-F5344CB8AC3E}">
        <p14:creationId xmlns:p14="http://schemas.microsoft.com/office/powerpoint/2010/main" val="4277685315"/>
      </p:ext>
    </p:extLst>
  </p:cSld>
  <p:clrMap bg1="lt1" tx1="dk1" bg2="lt2" tx2="dk2" accent1="accent1" accent2="accent2" accent3="accent3" accent4="accent4" accent5="accent5" accent6="accent6" hlink="hlink" folHlink="folHlink"/>
  <p:sldLayoutIdLst>
    <p:sldLayoutId id="2147483681" r:id="rId1"/>
    <p:sldLayoutId id="2147483690" r:id="rId2"/>
    <p:sldLayoutId id="2147483689" r:id="rId3"/>
    <p:sldLayoutId id="2147483692" r:id="rId4"/>
    <p:sldLayoutId id="2147483691" r:id="rId5"/>
    <p:sldLayoutId id="2147483685" r:id="rId6"/>
    <p:sldLayoutId id="2147483693" r:id="rId7"/>
    <p:sldLayoutId id="2147483687" r:id="rId8"/>
    <p:sldLayoutId id="2147483694" r:id="rId9"/>
    <p:sldLayoutId id="2147483695"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609585" rtl="0" eaLnBrk="1" latinLnBrk="0" hangingPunct="1">
        <a:spcBef>
          <a:spcPct val="0"/>
        </a:spcBef>
        <a:buNone/>
        <a:defRPr sz="3600" kern="1200">
          <a:solidFill>
            <a:schemeClr val="tx2"/>
          </a:solidFill>
          <a:latin typeface="Calibri" panose="020F0502020204030204" pitchFamily="34" charset="0"/>
          <a:ea typeface="+mj-ea"/>
          <a:cs typeface="Calibri" panose="020F0502020204030204" pitchFamily="34" charset="0"/>
        </a:defRPr>
      </a:lvl1pPr>
    </p:titleStyle>
    <p:bodyStyle>
      <a:lvl1pPr marL="230712" indent="-230712" algn="l" defTabSz="609585" rtl="0" eaLnBrk="1" latinLnBrk="0" hangingPunct="1">
        <a:spcBef>
          <a:spcPct val="20000"/>
        </a:spcBef>
        <a:buClr>
          <a:schemeClr val="accent1"/>
        </a:buClr>
        <a:buFont typeface="Arial"/>
        <a:buChar char="•"/>
        <a:defRPr sz="2133" kern="1200">
          <a:solidFill>
            <a:schemeClr val="tx2"/>
          </a:solidFill>
          <a:latin typeface="Calibri" panose="020F0502020204030204" pitchFamily="34" charset="0"/>
          <a:ea typeface="+mn-ea"/>
          <a:cs typeface="Calibri" panose="020F0502020204030204" pitchFamily="34" charset="0"/>
        </a:defRPr>
      </a:lvl1pPr>
      <a:lvl2pPr marL="535504" indent="-230712" algn="l" defTabSz="609585" rtl="0" eaLnBrk="1" latinLnBrk="0" hangingPunct="1">
        <a:spcBef>
          <a:spcPct val="20000"/>
        </a:spcBef>
        <a:buClr>
          <a:schemeClr val="accent1"/>
        </a:buClr>
        <a:buFont typeface="Arial" panose="020B0604020202020204" pitchFamily="34" charset="0"/>
        <a:buChar char="–"/>
        <a:defRPr sz="1867" kern="1200">
          <a:solidFill>
            <a:schemeClr val="tx2"/>
          </a:solidFill>
          <a:latin typeface="Calibri" panose="020F0502020204030204" pitchFamily="34" charset="0"/>
          <a:ea typeface="+mn-ea"/>
          <a:cs typeface="Calibri" panose="020F0502020204030204" pitchFamily="34" charset="0"/>
        </a:defRPr>
      </a:lvl2pPr>
      <a:lvl3pPr marL="764098" indent="-228594" algn="l" defTabSz="609585" rtl="0" eaLnBrk="1" latinLnBrk="0" hangingPunct="1">
        <a:spcBef>
          <a:spcPct val="20000"/>
        </a:spcBef>
        <a:buClr>
          <a:schemeClr val="accent1"/>
        </a:buClr>
        <a:buFont typeface="Arial" panose="020B0604020202020204" pitchFamily="34" charset="0"/>
        <a:buChar char="»"/>
        <a:defRPr sz="1467" kern="1200">
          <a:solidFill>
            <a:schemeClr val="tx2"/>
          </a:solidFill>
          <a:latin typeface="Calibri" panose="020F0502020204030204" pitchFamily="34" charset="0"/>
          <a:ea typeface="+mn-ea"/>
          <a:cs typeface="Calibri" panose="020F0502020204030204" pitchFamily="34" charset="0"/>
        </a:defRPr>
      </a:lvl3pPr>
      <a:lvl4pPr marL="988459" indent="-224361" algn="l" defTabSz="609585" rtl="0" eaLnBrk="1" latinLnBrk="0" hangingPunct="1">
        <a:spcBef>
          <a:spcPct val="20000"/>
        </a:spcBef>
        <a:buClr>
          <a:schemeClr val="accent1"/>
        </a:buClr>
        <a:buFont typeface="Wingdings" panose="05000000000000000000" pitchFamily="2" charset="2"/>
        <a:buChar char="§"/>
        <a:defRPr sz="1400" kern="1200">
          <a:solidFill>
            <a:schemeClr val="tx2"/>
          </a:solidFill>
          <a:latin typeface="Calibri" panose="020F0502020204030204" pitchFamily="34" charset="0"/>
          <a:ea typeface="+mn-ea"/>
          <a:cs typeface="Calibri" panose="020F0502020204030204" pitchFamily="34" charset="0"/>
        </a:defRPr>
      </a:lvl4pPr>
      <a:lvl5pPr marL="1219170" indent="-230712" algn="l" defTabSz="609585" rtl="0" eaLnBrk="1" latinLnBrk="0" hangingPunct="1">
        <a:spcBef>
          <a:spcPct val="20000"/>
        </a:spcBef>
        <a:buClr>
          <a:schemeClr val="accent1"/>
        </a:buClr>
        <a:buFont typeface="Arial" panose="020B0604020202020204" pitchFamily="34" charset="0"/>
        <a:buChar char="–"/>
        <a:defRPr sz="1333" kern="1200">
          <a:solidFill>
            <a:schemeClr val="tx2"/>
          </a:solidFill>
          <a:latin typeface="Calibri" panose="020F0502020204030204" pitchFamily="34" charset="0"/>
          <a:ea typeface="+mn-ea"/>
          <a:cs typeface="Calibri" panose="020F050202020403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6">
          <p15:clr>
            <a:srgbClr val="F26B43"/>
          </p15:clr>
        </p15:guide>
        <p15:guide id="2" pos="277">
          <p15:clr>
            <a:srgbClr val="F26B43"/>
          </p15:clr>
        </p15:guide>
        <p15:guide id="3" pos="3840">
          <p15:clr>
            <a:srgbClr val="F26B43"/>
          </p15:clr>
        </p15:guide>
        <p15:guide id="4" pos="7320">
          <p15:clr>
            <a:srgbClr val="F26B43"/>
          </p15:clr>
        </p15:guide>
        <p15:guide id="5" orient="horz" pos="516">
          <p15:clr>
            <a:srgbClr val="F26B43"/>
          </p15:clr>
        </p15:guide>
        <p15:guide id="6" orient="horz" pos="3868">
          <p15:clr>
            <a:srgbClr val="F26B43"/>
          </p15:clr>
        </p15:guide>
        <p15:guide id="7" orient="horz" pos="232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9BB8B-8B16-4669-88C1-855A04DE7DA6}"/>
              </a:ext>
            </a:extLst>
          </p:cNvPr>
          <p:cNvSpPr>
            <a:spLocks noGrp="1"/>
          </p:cNvSpPr>
          <p:nvPr>
            <p:ph type="title"/>
          </p:nvPr>
        </p:nvSpPr>
        <p:spPr>
          <a:xfrm>
            <a:off x="413525" y="2866743"/>
            <a:ext cx="5648611" cy="926275"/>
          </a:xfrm>
        </p:spPr>
        <p:txBody>
          <a:bodyPr/>
          <a:lstStyle/>
          <a:p>
            <a:r>
              <a:rPr lang="en-US" dirty="0"/>
              <a:t>Hollow Core Fiber:</a:t>
            </a:r>
            <a:br>
              <a:rPr lang="en-US" dirty="0"/>
            </a:br>
            <a:r>
              <a:rPr lang="en-US" sz="4000" i="1" dirty="0"/>
              <a:t>What is it, and why should you be interested?</a:t>
            </a:r>
            <a:endParaRPr lang="en-US" i="1" dirty="0"/>
          </a:p>
        </p:txBody>
      </p:sp>
      <p:sp>
        <p:nvSpPr>
          <p:cNvPr id="3" name="Text Placeholder 2">
            <a:extLst>
              <a:ext uri="{FF2B5EF4-FFF2-40B4-BE49-F238E27FC236}">
                <a16:creationId xmlns:a16="http://schemas.microsoft.com/office/drawing/2014/main" id="{37669BEF-666F-4D34-BD7F-13A834FB98C0}"/>
              </a:ext>
            </a:extLst>
          </p:cNvPr>
          <p:cNvSpPr>
            <a:spLocks noGrp="1"/>
          </p:cNvSpPr>
          <p:nvPr>
            <p:ph type="body" sz="quarter" idx="10"/>
          </p:nvPr>
        </p:nvSpPr>
        <p:spPr>
          <a:xfrm>
            <a:off x="447390" y="3985388"/>
            <a:ext cx="5648611" cy="584775"/>
          </a:xfrm>
        </p:spPr>
        <p:txBody>
          <a:bodyPr/>
          <a:lstStyle/>
          <a:p>
            <a:r>
              <a:rPr lang="en-US" sz="3200" dirty="0"/>
              <a:t>Geoff Bennett, Infinera Corp.</a:t>
            </a:r>
          </a:p>
        </p:txBody>
      </p:sp>
    </p:spTree>
    <p:extLst>
      <p:ext uri="{BB962C8B-B14F-4D97-AF65-F5344CB8AC3E}">
        <p14:creationId xmlns:p14="http://schemas.microsoft.com/office/powerpoint/2010/main" val="165974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ylinder 7">
            <a:extLst>
              <a:ext uri="{FF2B5EF4-FFF2-40B4-BE49-F238E27FC236}">
                <a16:creationId xmlns:a16="http://schemas.microsoft.com/office/drawing/2014/main" id="{F9958DCE-228C-4D3C-95E0-099139847685}"/>
              </a:ext>
            </a:extLst>
          </p:cNvPr>
          <p:cNvSpPr/>
          <p:nvPr/>
        </p:nvSpPr>
        <p:spPr>
          <a:xfrm rot="16200000">
            <a:off x="8977087" y="2286393"/>
            <a:ext cx="646044" cy="794337"/>
          </a:xfrm>
          <a:prstGeom prst="can">
            <a:avLst/>
          </a:prstGeom>
          <a:solidFill>
            <a:schemeClr val="accent5">
              <a:lumMod val="20000"/>
              <a:lumOff val="80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7" name="Cylinder 6">
            <a:extLst>
              <a:ext uri="{FF2B5EF4-FFF2-40B4-BE49-F238E27FC236}">
                <a16:creationId xmlns:a16="http://schemas.microsoft.com/office/drawing/2014/main" id="{E341EC2A-7807-4D74-9698-F4B0A04E3453}"/>
              </a:ext>
            </a:extLst>
          </p:cNvPr>
          <p:cNvSpPr/>
          <p:nvPr/>
        </p:nvSpPr>
        <p:spPr>
          <a:xfrm rot="16200000">
            <a:off x="6240515" y="129599"/>
            <a:ext cx="646044" cy="5107923"/>
          </a:xfrm>
          <a:prstGeom prst="can">
            <a:avLst/>
          </a:prstGeom>
          <a:solidFill>
            <a:schemeClr val="accent5">
              <a:lumMod val="20000"/>
              <a:lumOff val="80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2" name="Title 1">
            <a:extLst>
              <a:ext uri="{FF2B5EF4-FFF2-40B4-BE49-F238E27FC236}">
                <a16:creationId xmlns:a16="http://schemas.microsoft.com/office/drawing/2014/main" id="{2F476C74-493A-4463-B86B-54DCD2D18BE5}"/>
              </a:ext>
            </a:extLst>
          </p:cNvPr>
          <p:cNvSpPr>
            <a:spLocks noGrp="1"/>
          </p:cNvSpPr>
          <p:nvPr>
            <p:ph type="title"/>
          </p:nvPr>
        </p:nvSpPr>
        <p:spPr/>
        <p:txBody>
          <a:bodyPr/>
          <a:lstStyle/>
          <a:p>
            <a:r>
              <a:rPr lang="en-US" dirty="0"/>
              <a:t>Latency: </a:t>
            </a:r>
            <a:r>
              <a:rPr lang="en-US" b="1" i="1" dirty="0">
                <a:solidFill>
                  <a:schemeClr val="accent6"/>
                </a:solidFill>
              </a:rPr>
              <a:t>Glass Core vs Air Core</a:t>
            </a:r>
          </a:p>
        </p:txBody>
      </p:sp>
      <p:sp>
        <p:nvSpPr>
          <p:cNvPr id="6" name="Cylinder 5">
            <a:extLst>
              <a:ext uri="{FF2B5EF4-FFF2-40B4-BE49-F238E27FC236}">
                <a16:creationId xmlns:a16="http://schemas.microsoft.com/office/drawing/2014/main" id="{31CB1C1D-B52C-4D8E-A917-F7D9BC806806}"/>
              </a:ext>
            </a:extLst>
          </p:cNvPr>
          <p:cNvSpPr/>
          <p:nvPr/>
        </p:nvSpPr>
        <p:spPr>
          <a:xfrm rot="16200000">
            <a:off x="5992161" y="129601"/>
            <a:ext cx="1142747" cy="5107922"/>
          </a:xfrm>
          <a:prstGeom prst="can">
            <a:avLst/>
          </a:prstGeom>
          <a:solidFill>
            <a:srgbClr val="FFFFFF">
              <a:alpha val="60000"/>
            </a:srgb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5" name="Cylinder 4">
            <a:extLst>
              <a:ext uri="{FF2B5EF4-FFF2-40B4-BE49-F238E27FC236}">
                <a16:creationId xmlns:a16="http://schemas.microsoft.com/office/drawing/2014/main" id="{290D4409-F19C-4633-A01C-DCBAE6E4941D}"/>
              </a:ext>
            </a:extLst>
          </p:cNvPr>
          <p:cNvSpPr/>
          <p:nvPr/>
        </p:nvSpPr>
        <p:spPr>
          <a:xfrm rot="16200000">
            <a:off x="3503939" y="2286393"/>
            <a:ext cx="646044" cy="794337"/>
          </a:xfrm>
          <a:prstGeom prst="can">
            <a:avLst/>
          </a:prstGeom>
          <a:solidFill>
            <a:schemeClr val="accent5">
              <a:lumMod val="20000"/>
              <a:lumOff val="80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cxnSp>
        <p:nvCxnSpPr>
          <p:cNvPr id="10" name="Straight Connector 9">
            <a:extLst>
              <a:ext uri="{FF2B5EF4-FFF2-40B4-BE49-F238E27FC236}">
                <a16:creationId xmlns:a16="http://schemas.microsoft.com/office/drawing/2014/main" id="{1F180535-74BE-4E36-AFE5-BCE0097E1C92}"/>
              </a:ext>
            </a:extLst>
          </p:cNvPr>
          <p:cNvCxnSpPr/>
          <p:nvPr/>
        </p:nvCxnSpPr>
        <p:spPr>
          <a:xfrm>
            <a:off x="2663687" y="2683560"/>
            <a:ext cx="7941366" cy="0"/>
          </a:xfrm>
          <a:prstGeom prst="line">
            <a:avLst/>
          </a:prstGeom>
          <a:ln>
            <a:solidFill>
              <a:schemeClr val="bg2"/>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1B865F7B-4641-4F53-B2E4-4757E44E3314}"/>
              </a:ext>
            </a:extLst>
          </p:cNvPr>
          <p:cNvSpPr txBox="1"/>
          <p:nvPr/>
        </p:nvSpPr>
        <p:spPr>
          <a:xfrm>
            <a:off x="5131090" y="1439578"/>
            <a:ext cx="2864887" cy="584775"/>
          </a:xfrm>
          <a:prstGeom prst="rect">
            <a:avLst/>
          </a:prstGeom>
        </p:spPr>
        <p:txBody>
          <a:bodyPr vert="horz" wrap="none" lIns="91440" tIns="45720" rIns="91440" bIns="45720" rtlCol="0">
            <a:spAutoFit/>
          </a:bodyPr>
          <a:lstStyle/>
          <a:p>
            <a:pPr algn="l">
              <a:spcBef>
                <a:spcPct val="20000"/>
              </a:spcBef>
              <a:buClr>
                <a:srgbClr val="6D6E71"/>
              </a:buClr>
            </a:pPr>
            <a:r>
              <a:rPr lang="en-US" sz="3200" dirty="0">
                <a:solidFill>
                  <a:schemeClr val="tx2"/>
                </a:solidFill>
              </a:rPr>
              <a:t>4.897 µs per km</a:t>
            </a:r>
          </a:p>
        </p:txBody>
      </p:sp>
      <p:sp>
        <p:nvSpPr>
          <p:cNvPr id="12" name="TextBox 11">
            <a:extLst>
              <a:ext uri="{FF2B5EF4-FFF2-40B4-BE49-F238E27FC236}">
                <a16:creationId xmlns:a16="http://schemas.microsoft.com/office/drawing/2014/main" id="{DDC0B0D9-77EF-400D-B1E3-0E6882D0FF09}"/>
              </a:ext>
            </a:extLst>
          </p:cNvPr>
          <p:cNvSpPr txBox="1"/>
          <p:nvPr/>
        </p:nvSpPr>
        <p:spPr>
          <a:xfrm>
            <a:off x="757979" y="1331500"/>
            <a:ext cx="3068982" cy="904863"/>
          </a:xfrm>
          <a:prstGeom prst="rect">
            <a:avLst/>
          </a:prstGeom>
        </p:spPr>
        <p:txBody>
          <a:bodyPr vert="horz" wrap="none" lIns="91440" tIns="45720" rIns="91440" bIns="45720" rtlCol="0">
            <a:spAutoFit/>
          </a:bodyPr>
          <a:lstStyle/>
          <a:p>
            <a:pPr algn="ctr">
              <a:spcBef>
                <a:spcPct val="20000"/>
              </a:spcBef>
              <a:buClr>
                <a:srgbClr val="6D6E71"/>
              </a:buClr>
            </a:pPr>
            <a:r>
              <a:rPr lang="en-US" sz="2400" b="1" i="1" dirty="0">
                <a:solidFill>
                  <a:schemeClr val="accent6"/>
                </a:solidFill>
              </a:rPr>
              <a:t>Glass core</a:t>
            </a:r>
          </a:p>
          <a:p>
            <a:pPr algn="ctr">
              <a:spcBef>
                <a:spcPct val="20000"/>
              </a:spcBef>
              <a:buClr>
                <a:srgbClr val="6D6E71"/>
              </a:buClr>
            </a:pPr>
            <a:r>
              <a:rPr lang="en-US" sz="2400" b="1" i="1" dirty="0">
                <a:solidFill>
                  <a:schemeClr val="accent6"/>
                </a:solidFill>
              </a:rPr>
              <a:t>Refractive index = 1.46</a:t>
            </a:r>
          </a:p>
        </p:txBody>
      </p:sp>
      <p:grpSp>
        <p:nvGrpSpPr>
          <p:cNvPr id="3" name="Group 2">
            <a:extLst>
              <a:ext uri="{FF2B5EF4-FFF2-40B4-BE49-F238E27FC236}">
                <a16:creationId xmlns:a16="http://schemas.microsoft.com/office/drawing/2014/main" id="{1FC0889B-30F5-A793-4562-746E03FD79C1}"/>
              </a:ext>
            </a:extLst>
          </p:cNvPr>
          <p:cNvGrpSpPr/>
          <p:nvPr/>
        </p:nvGrpSpPr>
        <p:grpSpPr>
          <a:xfrm>
            <a:off x="378925" y="3707228"/>
            <a:ext cx="10226129" cy="1985211"/>
            <a:chOff x="378925" y="3707228"/>
            <a:chExt cx="10226129" cy="1985211"/>
          </a:xfrm>
        </p:grpSpPr>
        <p:sp>
          <p:nvSpPr>
            <p:cNvPr id="13" name="Cylinder 12">
              <a:extLst>
                <a:ext uri="{FF2B5EF4-FFF2-40B4-BE49-F238E27FC236}">
                  <a16:creationId xmlns:a16="http://schemas.microsoft.com/office/drawing/2014/main" id="{E83DB522-0971-491C-9D4B-63042D5EA874}"/>
                </a:ext>
              </a:extLst>
            </p:cNvPr>
            <p:cNvSpPr/>
            <p:nvPr/>
          </p:nvSpPr>
          <p:spPr>
            <a:xfrm rot="16200000">
              <a:off x="8977088" y="4723897"/>
              <a:ext cx="646044" cy="794337"/>
            </a:xfrm>
            <a:prstGeom prst="can">
              <a:avLst/>
            </a:prstGeom>
            <a:solidFill>
              <a:srgbClr val="FFFFFF"/>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4" name="Cylinder 13">
              <a:extLst>
                <a:ext uri="{FF2B5EF4-FFF2-40B4-BE49-F238E27FC236}">
                  <a16:creationId xmlns:a16="http://schemas.microsoft.com/office/drawing/2014/main" id="{C481D24D-1085-438C-A840-273405BB1544}"/>
                </a:ext>
              </a:extLst>
            </p:cNvPr>
            <p:cNvSpPr/>
            <p:nvPr/>
          </p:nvSpPr>
          <p:spPr>
            <a:xfrm rot="16200000">
              <a:off x="6240516" y="2567103"/>
              <a:ext cx="646044" cy="5107923"/>
            </a:xfrm>
            <a:prstGeom prst="can">
              <a:avLst/>
            </a:prstGeom>
            <a:solidFill>
              <a:schemeClr val="accent5">
                <a:lumMod val="20000"/>
                <a:lumOff val="80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5" name="Cylinder 14">
              <a:extLst>
                <a:ext uri="{FF2B5EF4-FFF2-40B4-BE49-F238E27FC236}">
                  <a16:creationId xmlns:a16="http://schemas.microsoft.com/office/drawing/2014/main" id="{43384ED7-A523-44DF-B687-9E0EA3DE11B9}"/>
                </a:ext>
              </a:extLst>
            </p:cNvPr>
            <p:cNvSpPr/>
            <p:nvPr/>
          </p:nvSpPr>
          <p:spPr>
            <a:xfrm rot="16200000">
              <a:off x="5992162" y="2567105"/>
              <a:ext cx="1142747" cy="5107922"/>
            </a:xfrm>
            <a:prstGeom prst="can">
              <a:avLst/>
            </a:prstGeom>
            <a:solidFill>
              <a:srgbClr val="FFFFFF">
                <a:alpha val="60000"/>
              </a:srgb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6" name="Cylinder 15">
              <a:extLst>
                <a:ext uri="{FF2B5EF4-FFF2-40B4-BE49-F238E27FC236}">
                  <a16:creationId xmlns:a16="http://schemas.microsoft.com/office/drawing/2014/main" id="{FCE25B38-FB2B-42BE-9EF5-F27FA29C624B}"/>
                </a:ext>
              </a:extLst>
            </p:cNvPr>
            <p:cNvSpPr/>
            <p:nvPr/>
          </p:nvSpPr>
          <p:spPr>
            <a:xfrm rot="16200000">
              <a:off x="3503940" y="4723897"/>
              <a:ext cx="646044" cy="794337"/>
            </a:xfrm>
            <a:prstGeom prst="can">
              <a:avLst/>
            </a:prstGeom>
            <a:solidFill>
              <a:srgbClr val="FFFFFF"/>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cxnSp>
          <p:nvCxnSpPr>
            <p:cNvPr id="17" name="Straight Connector 16">
              <a:extLst>
                <a:ext uri="{FF2B5EF4-FFF2-40B4-BE49-F238E27FC236}">
                  <a16:creationId xmlns:a16="http://schemas.microsoft.com/office/drawing/2014/main" id="{7258BE6C-8345-45D2-882A-DC95772CCEC8}"/>
                </a:ext>
              </a:extLst>
            </p:cNvPr>
            <p:cNvCxnSpPr/>
            <p:nvPr/>
          </p:nvCxnSpPr>
          <p:spPr>
            <a:xfrm>
              <a:off x="2663688" y="5121064"/>
              <a:ext cx="7941366" cy="0"/>
            </a:xfrm>
            <a:prstGeom prst="line">
              <a:avLst/>
            </a:prstGeom>
            <a:ln>
              <a:solidFill>
                <a:schemeClr val="bg2"/>
              </a:solidFill>
              <a:headEnd type="none"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838E5C09-9A48-48A0-9FEF-9882548F0F91}"/>
                </a:ext>
              </a:extLst>
            </p:cNvPr>
            <p:cNvSpPr txBox="1"/>
            <p:nvPr/>
          </p:nvSpPr>
          <p:spPr>
            <a:xfrm>
              <a:off x="378925" y="3707228"/>
              <a:ext cx="3690947" cy="904863"/>
            </a:xfrm>
            <a:prstGeom prst="rect">
              <a:avLst/>
            </a:prstGeom>
          </p:spPr>
          <p:txBody>
            <a:bodyPr vert="horz" wrap="none" lIns="91440" tIns="45720" rIns="91440" bIns="45720" rtlCol="0">
              <a:spAutoFit/>
            </a:bodyPr>
            <a:lstStyle/>
            <a:p>
              <a:pPr algn="ctr">
                <a:spcBef>
                  <a:spcPct val="20000"/>
                </a:spcBef>
                <a:buClr>
                  <a:srgbClr val="6D6E71"/>
                </a:buClr>
              </a:pPr>
              <a:r>
                <a:rPr lang="en-US" sz="2400" b="1" i="1" dirty="0">
                  <a:solidFill>
                    <a:schemeClr val="accent6"/>
                  </a:solidFill>
                </a:rPr>
                <a:t>Air core</a:t>
              </a:r>
            </a:p>
            <a:p>
              <a:pPr algn="ctr">
                <a:spcBef>
                  <a:spcPct val="20000"/>
                </a:spcBef>
                <a:buClr>
                  <a:srgbClr val="6D6E71"/>
                </a:buClr>
              </a:pPr>
              <a:r>
                <a:rPr lang="en-US" sz="2400" b="1" i="1" dirty="0">
                  <a:solidFill>
                    <a:schemeClr val="accent6"/>
                  </a:solidFill>
                </a:rPr>
                <a:t>Refractive index = 1.000293</a:t>
              </a:r>
            </a:p>
          </p:txBody>
        </p:sp>
        <p:sp>
          <p:nvSpPr>
            <p:cNvPr id="19" name="TextBox 18">
              <a:extLst>
                <a:ext uri="{FF2B5EF4-FFF2-40B4-BE49-F238E27FC236}">
                  <a16:creationId xmlns:a16="http://schemas.microsoft.com/office/drawing/2014/main" id="{B22D3469-554D-4F85-A23F-B79D368877AD}"/>
                </a:ext>
              </a:extLst>
            </p:cNvPr>
            <p:cNvSpPr txBox="1"/>
            <p:nvPr/>
          </p:nvSpPr>
          <p:spPr>
            <a:xfrm>
              <a:off x="5184100" y="3967376"/>
              <a:ext cx="2864887" cy="584775"/>
            </a:xfrm>
            <a:prstGeom prst="rect">
              <a:avLst/>
            </a:prstGeom>
          </p:spPr>
          <p:txBody>
            <a:bodyPr vert="horz" wrap="none" lIns="91440" tIns="45720" rIns="91440" bIns="45720" rtlCol="0">
              <a:spAutoFit/>
            </a:bodyPr>
            <a:lstStyle/>
            <a:p>
              <a:pPr algn="l">
                <a:spcBef>
                  <a:spcPct val="20000"/>
                </a:spcBef>
                <a:buClr>
                  <a:srgbClr val="6D6E71"/>
                </a:buClr>
              </a:pPr>
              <a:r>
                <a:rPr lang="en-US" sz="3200" dirty="0">
                  <a:solidFill>
                    <a:schemeClr val="tx2"/>
                  </a:solidFill>
                </a:rPr>
                <a:t>3.353 µs per km</a:t>
              </a:r>
            </a:p>
          </p:txBody>
        </p:sp>
      </p:grpSp>
    </p:spTree>
    <p:extLst>
      <p:ext uri="{BB962C8B-B14F-4D97-AF65-F5344CB8AC3E}">
        <p14:creationId xmlns:p14="http://schemas.microsoft.com/office/powerpoint/2010/main" val="276065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4A7FA-6248-444B-B6AD-D0CF3B6F59A5}"/>
              </a:ext>
            </a:extLst>
          </p:cNvPr>
          <p:cNvSpPr>
            <a:spLocks noGrp="1"/>
          </p:cNvSpPr>
          <p:nvPr>
            <p:ph type="title"/>
          </p:nvPr>
        </p:nvSpPr>
        <p:spPr/>
        <p:txBody>
          <a:bodyPr/>
          <a:lstStyle/>
          <a:p>
            <a:r>
              <a:rPr lang="en-US" dirty="0"/>
              <a:t>What have I told you about conventional optical fiber?</a:t>
            </a:r>
          </a:p>
        </p:txBody>
      </p:sp>
      <p:sp>
        <p:nvSpPr>
          <p:cNvPr id="3" name="Content Placeholder 2">
            <a:extLst>
              <a:ext uri="{FF2B5EF4-FFF2-40B4-BE49-F238E27FC236}">
                <a16:creationId xmlns:a16="http://schemas.microsoft.com/office/drawing/2014/main" id="{2B7831D9-6017-44CA-B9E8-2C039249B532}"/>
              </a:ext>
            </a:extLst>
          </p:cNvPr>
          <p:cNvSpPr>
            <a:spLocks noGrp="1"/>
          </p:cNvSpPr>
          <p:nvPr>
            <p:ph idx="1"/>
          </p:nvPr>
        </p:nvSpPr>
        <p:spPr>
          <a:xfrm>
            <a:off x="443877" y="1048766"/>
            <a:ext cx="11173289" cy="4871976"/>
          </a:xfrm>
        </p:spPr>
        <p:txBody>
          <a:bodyPr>
            <a:normAutofit lnSpcReduction="10000"/>
          </a:bodyPr>
          <a:lstStyle/>
          <a:p>
            <a:pPr>
              <a:spcBef>
                <a:spcPts val="1800"/>
              </a:spcBef>
            </a:pPr>
            <a:r>
              <a:rPr lang="en-US" sz="3200" dirty="0"/>
              <a:t>Optical fiber acts as a </a:t>
            </a:r>
            <a:r>
              <a:rPr lang="en-US" sz="3200" b="1" i="1" dirty="0">
                <a:solidFill>
                  <a:schemeClr val="accent6"/>
                </a:solidFill>
              </a:rPr>
              <a:t>waveguide</a:t>
            </a:r>
          </a:p>
          <a:p>
            <a:pPr>
              <a:spcBef>
                <a:spcPts val="1800"/>
              </a:spcBef>
            </a:pPr>
            <a:r>
              <a:rPr lang="en-US" sz="3200" b="1" i="1" dirty="0">
                <a:solidFill>
                  <a:schemeClr val="accent6"/>
                </a:solidFill>
              </a:rPr>
              <a:t>Single mode</a:t>
            </a:r>
            <a:r>
              <a:rPr lang="en-US" sz="3200" dirty="0"/>
              <a:t> operation – no modal dispersion</a:t>
            </a:r>
          </a:p>
          <a:p>
            <a:pPr>
              <a:spcBef>
                <a:spcPts val="1800"/>
              </a:spcBef>
            </a:pPr>
            <a:r>
              <a:rPr lang="en-US" sz="3200" dirty="0"/>
              <a:t>Attenuation varies with wavelength</a:t>
            </a:r>
          </a:p>
          <a:p>
            <a:pPr lvl="1">
              <a:spcBef>
                <a:spcPts val="1800"/>
              </a:spcBef>
            </a:pPr>
            <a:r>
              <a:rPr lang="en-US" sz="2934" dirty="0"/>
              <a:t>Today’s optical communication is in the </a:t>
            </a:r>
            <a:r>
              <a:rPr lang="en-US" sz="2934" b="1" i="1" dirty="0">
                <a:solidFill>
                  <a:schemeClr val="accent6"/>
                </a:solidFill>
              </a:rPr>
              <a:t>C-Band</a:t>
            </a:r>
            <a:r>
              <a:rPr lang="en-US" sz="2934" dirty="0"/>
              <a:t> and </a:t>
            </a:r>
            <a:r>
              <a:rPr lang="en-US" sz="2934" b="1" i="1" dirty="0">
                <a:solidFill>
                  <a:schemeClr val="accent6"/>
                </a:solidFill>
              </a:rPr>
              <a:t>L-Band</a:t>
            </a:r>
          </a:p>
          <a:p>
            <a:pPr lvl="1">
              <a:spcBef>
                <a:spcPts val="1800"/>
              </a:spcBef>
            </a:pPr>
            <a:r>
              <a:rPr lang="en-US" sz="2934" dirty="0"/>
              <a:t>There is so much more </a:t>
            </a:r>
            <a:r>
              <a:rPr lang="en-US" sz="2934" b="1" i="1" dirty="0">
                <a:solidFill>
                  <a:schemeClr val="accent6"/>
                </a:solidFill>
              </a:rPr>
              <a:t>potential</a:t>
            </a:r>
            <a:r>
              <a:rPr lang="en-US" sz="2934" dirty="0"/>
              <a:t> capacity in today’s optical fiber, but only at </a:t>
            </a:r>
            <a:r>
              <a:rPr lang="en-US" sz="2934" b="1" i="1" dirty="0">
                <a:solidFill>
                  <a:schemeClr val="accent6"/>
                </a:solidFill>
              </a:rPr>
              <a:t>shorter distances</a:t>
            </a:r>
            <a:r>
              <a:rPr lang="en-US" sz="2934" dirty="0"/>
              <a:t> because of </a:t>
            </a:r>
            <a:r>
              <a:rPr lang="en-US" sz="2934" b="1" i="1" dirty="0">
                <a:solidFill>
                  <a:schemeClr val="accent6"/>
                </a:solidFill>
              </a:rPr>
              <a:t>higher attenuation</a:t>
            </a:r>
          </a:p>
          <a:p>
            <a:pPr>
              <a:spcBef>
                <a:spcPts val="1800"/>
              </a:spcBef>
            </a:pPr>
            <a:r>
              <a:rPr lang="en-US" sz="3200" dirty="0"/>
              <a:t>Glass is a </a:t>
            </a:r>
            <a:r>
              <a:rPr lang="en-US" sz="3200" b="1" i="1" dirty="0">
                <a:solidFill>
                  <a:schemeClr val="accent6"/>
                </a:solidFill>
              </a:rPr>
              <a:t>nonlinear medium</a:t>
            </a:r>
            <a:r>
              <a:rPr lang="en-US" sz="3200" dirty="0"/>
              <a:t> – a major limiting factor</a:t>
            </a:r>
          </a:p>
          <a:p>
            <a:pPr>
              <a:spcBef>
                <a:spcPts val="1800"/>
              </a:spcBef>
            </a:pPr>
            <a:r>
              <a:rPr lang="en-US" sz="3200" dirty="0"/>
              <a:t>Glass core fiber has </a:t>
            </a:r>
            <a:r>
              <a:rPr lang="en-US" sz="3200" b="1" i="1" dirty="0">
                <a:solidFill>
                  <a:schemeClr val="accent6"/>
                </a:solidFill>
              </a:rPr>
              <a:t>higher latency</a:t>
            </a:r>
            <a:r>
              <a:rPr lang="en-US" sz="3200" dirty="0"/>
              <a:t> than transmission through air</a:t>
            </a:r>
          </a:p>
        </p:txBody>
      </p:sp>
    </p:spTree>
    <p:extLst>
      <p:ext uri="{BB962C8B-B14F-4D97-AF65-F5344CB8AC3E}">
        <p14:creationId xmlns:p14="http://schemas.microsoft.com/office/powerpoint/2010/main" val="790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500"/>
                                        <p:tgtEl>
                                          <p:spTgt spid="3">
                                            <p:txEl>
                                              <p:pRg st="2" end="2"/>
                                            </p:txEl>
                                          </p:spTgt>
                                        </p:tgtEl>
                                      </p:cBhvr>
                                    </p:animEffect>
                                  </p:childTnLst>
                                </p:cTn>
                              </p:par>
                              <p:par>
                                <p:cTn id="16" presetID="22" presetClass="entr" presetSubtype="8"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wipe(left)">
                                      <p:cBhvr>
                                        <p:cTn id="18" dur="500"/>
                                        <p:tgtEl>
                                          <p:spTgt spid="3">
                                            <p:txEl>
                                              <p:pRg st="3" end="3"/>
                                            </p:txEl>
                                          </p:spTgt>
                                        </p:tgtEl>
                                      </p:cBhvr>
                                    </p:animEffect>
                                  </p:childTnLst>
                                </p:cTn>
                              </p:par>
                              <p:par>
                                <p:cTn id="19" presetID="22" presetClass="entr" presetSubtype="8"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wipe(left)">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wipe(left)">
                                      <p:cBhvr>
                                        <p:cTn id="26" dur="500"/>
                                        <p:tgtEl>
                                          <p:spTgt spid="3">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wipe(left)">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A195D-C512-4E76-AD13-21A662D41CAA}"/>
              </a:ext>
            </a:extLst>
          </p:cNvPr>
          <p:cNvSpPr>
            <a:spLocks noGrp="1"/>
          </p:cNvSpPr>
          <p:nvPr>
            <p:ph type="title"/>
          </p:nvPr>
        </p:nvSpPr>
        <p:spPr/>
        <p:txBody>
          <a:bodyPr/>
          <a:lstStyle/>
          <a:p>
            <a:r>
              <a:rPr lang="en-US" dirty="0"/>
              <a:t>Which means that…</a:t>
            </a:r>
          </a:p>
        </p:txBody>
      </p:sp>
      <p:sp>
        <p:nvSpPr>
          <p:cNvPr id="3" name="Content Placeholder 2">
            <a:extLst>
              <a:ext uri="{FF2B5EF4-FFF2-40B4-BE49-F238E27FC236}">
                <a16:creationId xmlns:a16="http://schemas.microsoft.com/office/drawing/2014/main" id="{E3F1C4CA-FBB4-4625-A58E-494402E85511}"/>
              </a:ext>
            </a:extLst>
          </p:cNvPr>
          <p:cNvSpPr>
            <a:spLocks noGrp="1"/>
          </p:cNvSpPr>
          <p:nvPr>
            <p:ph idx="1"/>
          </p:nvPr>
        </p:nvSpPr>
        <p:spPr>
          <a:xfrm>
            <a:off x="443877" y="1550454"/>
            <a:ext cx="11173289" cy="4262519"/>
          </a:xfrm>
        </p:spPr>
        <p:txBody>
          <a:bodyPr>
            <a:normAutofit/>
          </a:bodyPr>
          <a:lstStyle/>
          <a:p>
            <a:r>
              <a:rPr lang="en-US" sz="2800" b="1" i="1" dirty="0">
                <a:solidFill>
                  <a:schemeClr val="accent6"/>
                </a:solidFill>
              </a:rPr>
              <a:t>A wider bandwidth waveguide would increase capacity-reach</a:t>
            </a:r>
          </a:p>
          <a:p>
            <a:r>
              <a:rPr lang="en-US" sz="2800" b="1" i="1" dirty="0">
                <a:solidFill>
                  <a:schemeClr val="accent6"/>
                </a:solidFill>
              </a:rPr>
              <a:t>A more linear optical waveguide would increase capacity-reach</a:t>
            </a:r>
          </a:p>
          <a:p>
            <a:endParaRPr lang="en-US" sz="2800" dirty="0"/>
          </a:p>
          <a:p>
            <a:r>
              <a:rPr lang="en-US" sz="2800" dirty="0"/>
              <a:t>As a </a:t>
            </a:r>
            <a:r>
              <a:rPr lang="en-US" sz="2800" b="1" i="1" dirty="0">
                <a:solidFill>
                  <a:schemeClr val="accent6"/>
                </a:solidFill>
              </a:rPr>
              <a:t>separate market driver</a:t>
            </a:r>
            <a:r>
              <a:rPr lang="en-US" sz="2800" dirty="0"/>
              <a:t> (</a:t>
            </a:r>
            <a:r>
              <a:rPr lang="en-US" sz="2800" dirty="0" err="1"/>
              <a:t>ie</a:t>
            </a:r>
            <a:r>
              <a:rPr lang="en-US" sz="2800" dirty="0"/>
              <a:t>. not related to capacity-reach) it would be great to find a waveguide that has </a:t>
            </a:r>
            <a:r>
              <a:rPr lang="en-US" sz="2800" b="1" i="1" dirty="0">
                <a:solidFill>
                  <a:schemeClr val="accent6"/>
                </a:solidFill>
              </a:rPr>
              <a:t>lower latency</a:t>
            </a:r>
            <a:r>
              <a:rPr lang="en-US" sz="2800" dirty="0"/>
              <a:t> than glass</a:t>
            </a:r>
          </a:p>
          <a:p>
            <a:endParaRPr lang="en-US" sz="2800" dirty="0"/>
          </a:p>
          <a:p>
            <a:r>
              <a:rPr lang="en-US" sz="3200" b="1" i="1" dirty="0">
                <a:solidFill>
                  <a:schemeClr val="accent6"/>
                </a:solidFill>
              </a:rPr>
              <a:t>All of these limitations derive from using fiber with a glass core</a:t>
            </a:r>
          </a:p>
        </p:txBody>
      </p:sp>
    </p:spTree>
    <p:extLst>
      <p:ext uri="{BB962C8B-B14F-4D97-AF65-F5344CB8AC3E}">
        <p14:creationId xmlns:p14="http://schemas.microsoft.com/office/powerpoint/2010/main" val="238308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wipe(left)">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wipe(left)">
                                      <p:cBhvr>
                                        <p:cTn id="20"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2538FC5-0B80-49A6-8327-AF0F2E7888A5}"/>
              </a:ext>
            </a:extLst>
          </p:cNvPr>
          <p:cNvSpPr>
            <a:spLocks noGrp="1"/>
          </p:cNvSpPr>
          <p:nvPr>
            <p:ph type="body" sz="quarter" idx="11"/>
          </p:nvPr>
        </p:nvSpPr>
        <p:spPr>
          <a:xfrm>
            <a:off x="1439623" y="843273"/>
            <a:ext cx="9312753" cy="1215690"/>
          </a:xfrm>
        </p:spPr>
        <p:txBody>
          <a:bodyPr>
            <a:normAutofit/>
          </a:bodyPr>
          <a:lstStyle/>
          <a:p>
            <a:pPr algn="ctr"/>
            <a:r>
              <a:rPr lang="en-US" dirty="0"/>
              <a:t>Hollow Core Fiber</a:t>
            </a:r>
          </a:p>
        </p:txBody>
      </p:sp>
      <p:pic>
        <p:nvPicPr>
          <p:cNvPr id="7" name="Picture 6" descr="A picture containing projector&#10;&#10;Description automatically generated">
            <a:extLst>
              <a:ext uri="{FF2B5EF4-FFF2-40B4-BE49-F238E27FC236}">
                <a16:creationId xmlns:a16="http://schemas.microsoft.com/office/drawing/2014/main" id="{6BC56B27-3F68-43F0-957F-E4EE8D5719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9623" y="2132676"/>
            <a:ext cx="9312754" cy="3924502"/>
          </a:xfrm>
          <a:prstGeom prst="rect">
            <a:avLst/>
          </a:prstGeom>
        </p:spPr>
      </p:pic>
    </p:spTree>
    <p:extLst>
      <p:ext uri="{BB962C8B-B14F-4D97-AF65-F5344CB8AC3E}">
        <p14:creationId xmlns:p14="http://schemas.microsoft.com/office/powerpoint/2010/main" val="127738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E0F72-9003-4C72-BC3B-21B5139C841D}"/>
              </a:ext>
            </a:extLst>
          </p:cNvPr>
          <p:cNvSpPr>
            <a:spLocks noGrp="1"/>
          </p:cNvSpPr>
          <p:nvPr>
            <p:ph type="title"/>
          </p:nvPr>
        </p:nvSpPr>
        <p:spPr/>
        <p:txBody>
          <a:bodyPr/>
          <a:lstStyle/>
          <a:p>
            <a:r>
              <a:rPr lang="en-US" dirty="0"/>
              <a:t>Types of HCF: </a:t>
            </a:r>
            <a:r>
              <a:rPr lang="en-US" b="1" i="1" dirty="0">
                <a:solidFill>
                  <a:schemeClr val="accent6"/>
                </a:solidFill>
              </a:rPr>
              <a:t>How they create the waveguide</a:t>
            </a:r>
          </a:p>
        </p:txBody>
      </p:sp>
      <p:sp>
        <p:nvSpPr>
          <p:cNvPr id="7" name="Rectangle: Rounded Corners 6">
            <a:extLst>
              <a:ext uri="{FF2B5EF4-FFF2-40B4-BE49-F238E27FC236}">
                <a16:creationId xmlns:a16="http://schemas.microsoft.com/office/drawing/2014/main" id="{750064F6-B1A3-4E15-9BF7-72926B6B02FD}"/>
              </a:ext>
            </a:extLst>
          </p:cNvPr>
          <p:cNvSpPr/>
          <p:nvPr/>
        </p:nvSpPr>
        <p:spPr>
          <a:xfrm>
            <a:off x="601818" y="2693324"/>
            <a:ext cx="2972654" cy="1205345"/>
          </a:xfrm>
          <a:prstGeom prst="round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dirty="0">
                <a:solidFill>
                  <a:schemeClr val="bg1"/>
                </a:solidFill>
              </a:rPr>
              <a:t>Hollow Core Fiber</a:t>
            </a:r>
          </a:p>
        </p:txBody>
      </p:sp>
      <p:grpSp>
        <p:nvGrpSpPr>
          <p:cNvPr id="18" name="Group 17">
            <a:extLst>
              <a:ext uri="{FF2B5EF4-FFF2-40B4-BE49-F238E27FC236}">
                <a16:creationId xmlns:a16="http://schemas.microsoft.com/office/drawing/2014/main" id="{1B1EF3E4-BA6D-4DAF-8B1D-7E8A4EFE1F5F}"/>
              </a:ext>
            </a:extLst>
          </p:cNvPr>
          <p:cNvGrpSpPr/>
          <p:nvPr/>
        </p:nvGrpSpPr>
        <p:grpSpPr>
          <a:xfrm>
            <a:off x="3574472" y="1670859"/>
            <a:ext cx="3736246" cy="1625138"/>
            <a:chOff x="3574472" y="1670859"/>
            <a:chExt cx="3736246" cy="1625138"/>
          </a:xfrm>
        </p:grpSpPr>
        <p:sp>
          <p:nvSpPr>
            <p:cNvPr id="8" name="Rectangle: Rounded Corners 7">
              <a:extLst>
                <a:ext uri="{FF2B5EF4-FFF2-40B4-BE49-F238E27FC236}">
                  <a16:creationId xmlns:a16="http://schemas.microsoft.com/office/drawing/2014/main" id="{6357C8EF-59D9-4E50-845B-1196BF724799}"/>
                </a:ext>
              </a:extLst>
            </p:cNvPr>
            <p:cNvSpPr/>
            <p:nvPr/>
          </p:nvSpPr>
          <p:spPr>
            <a:xfrm>
              <a:off x="4338064" y="1670859"/>
              <a:ext cx="2972654" cy="883920"/>
            </a:xfrm>
            <a:prstGeom prst="round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dirty="0">
                  <a:solidFill>
                    <a:schemeClr val="bg1"/>
                  </a:solidFill>
                </a:rPr>
                <a:t>Photonic Bandgap</a:t>
              </a:r>
            </a:p>
          </p:txBody>
        </p:sp>
        <p:cxnSp>
          <p:nvCxnSpPr>
            <p:cNvPr id="11" name="Connector: Elbow 10">
              <a:extLst>
                <a:ext uri="{FF2B5EF4-FFF2-40B4-BE49-F238E27FC236}">
                  <a16:creationId xmlns:a16="http://schemas.microsoft.com/office/drawing/2014/main" id="{E133C270-3EEA-4582-9585-E5FC4C9582D3}"/>
                </a:ext>
              </a:extLst>
            </p:cNvPr>
            <p:cNvCxnSpPr>
              <a:stCxn id="7" idx="3"/>
              <a:endCxn id="8" idx="1"/>
            </p:cNvCxnSpPr>
            <p:nvPr/>
          </p:nvCxnSpPr>
          <p:spPr>
            <a:xfrm flipV="1">
              <a:off x="3574472" y="2112819"/>
              <a:ext cx="763592" cy="1183178"/>
            </a:xfrm>
            <a:prstGeom prst="bentConnector3">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AFEEF94C-5662-4980-8F25-596730F6800A}"/>
              </a:ext>
            </a:extLst>
          </p:cNvPr>
          <p:cNvGrpSpPr/>
          <p:nvPr/>
        </p:nvGrpSpPr>
        <p:grpSpPr>
          <a:xfrm>
            <a:off x="3574472" y="3295997"/>
            <a:ext cx="3736246" cy="1716577"/>
            <a:chOff x="3574472" y="3295997"/>
            <a:chExt cx="3736246" cy="1716577"/>
          </a:xfrm>
        </p:grpSpPr>
        <p:sp>
          <p:nvSpPr>
            <p:cNvPr id="9" name="Rectangle: Rounded Corners 8">
              <a:extLst>
                <a:ext uri="{FF2B5EF4-FFF2-40B4-BE49-F238E27FC236}">
                  <a16:creationId xmlns:a16="http://schemas.microsoft.com/office/drawing/2014/main" id="{21FA0D6D-0EF3-4EE6-B80F-113672D391AC}"/>
                </a:ext>
              </a:extLst>
            </p:cNvPr>
            <p:cNvSpPr/>
            <p:nvPr/>
          </p:nvSpPr>
          <p:spPr>
            <a:xfrm>
              <a:off x="4338064" y="4128654"/>
              <a:ext cx="2972654" cy="883920"/>
            </a:xfrm>
            <a:prstGeom prst="round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dirty="0">
                  <a:solidFill>
                    <a:schemeClr val="bg1"/>
                  </a:solidFill>
                </a:rPr>
                <a:t>Anti-Resonant</a:t>
              </a:r>
            </a:p>
          </p:txBody>
        </p:sp>
        <p:cxnSp>
          <p:nvCxnSpPr>
            <p:cNvPr id="12" name="Connector: Elbow 11">
              <a:extLst>
                <a:ext uri="{FF2B5EF4-FFF2-40B4-BE49-F238E27FC236}">
                  <a16:creationId xmlns:a16="http://schemas.microsoft.com/office/drawing/2014/main" id="{E745C8D9-03C5-4A02-864F-B175B868E180}"/>
                </a:ext>
              </a:extLst>
            </p:cNvPr>
            <p:cNvCxnSpPr>
              <a:cxnSpLocks/>
              <a:stCxn id="7" idx="3"/>
              <a:endCxn id="9" idx="1"/>
            </p:cNvCxnSpPr>
            <p:nvPr/>
          </p:nvCxnSpPr>
          <p:spPr>
            <a:xfrm>
              <a:off x="3574472" y="3295997"/>
              <a:ext cx="763592" cy="1274617"/>
            </a:xfrm>
            <a:prstGeom prst="bentConnector3">
              <a:avLst>
                <a:gd name="adj1" fmla="val 50000"/>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BE5BDA17-21A5-48EA-A479-488E9091AFE3}"/>
              </a:ext>
            </a:extLst>
          </p:cNvPr>
          <p:cNvGrpSpPr/>
          <p:nvPr/>
        </p:nvGrpSpPr>
        <p:grpSpPr>
          <a:xfrm>
            <a:off x="7468070" y="3712324"/>
            <a:ext cx="3880562" cy="1716577"/>
            <a:chOff x="7468070" y="3712324"/>
            <a:chExt cx="3880562" cy="1716577"/>
          </a:xfrm>
        </p:grpSpPr>
        <p:sp>
          <p:nvSpPr>
            <p:cNvPr id="15" name="Rectangle: Rounded Corners 14">
              <a:extLst>
                <a:ext uri="{FF2B5EF4-FFF2-40B4-BE49-F238E27FC236}">
                  <a16:creationId xmlns:a16="http://schemas.microsoft.com/office/drawing/2014/main" id="{C8C96A36-A1C5-4FE9-9D89-C6EE5EABC6D7}"/>
                </a:ext>
              </a:extLst>
            </p:cNvPr>
            <p:cNvSpPr/>
            <p:nvPr/>
          </p:nvSpPr>
          <p:spPr>
            <a:xfrm>
              <a:off x="8200761" y="3712324"/>
              <a:ext cx="3147871" cy="1716577"/>
            </a:xfrm>
            <a:prstGeom prst="roundRect">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dirty="0">
                  <a:solidFill>
                    <a:schemeClr val="bg1"/>
                  </a:solidFill>
                </a:rPr>
                <a:t>Dual Nested Anti-Resonant </a:t>
              </a:r>
              <a:r>
                <a:rPr lang="en-US" sz="2800" dirty="0" err="1">
                  <a:solidFill>
                    <a:schemeClr val="bg1"/>
                  </a:solidFill>
                </a:rPr>
                <a:t>Nodeless</a:t>
              </a:r>
              <a:r>
                <a:rPr lang="en-US" sz="2800" dirty="0">
                  <a:solidFill>
                    <a:schemeClr val="bg1"/>
                  </a:solidFill>
                </a:rPr>
                <a:t> Fiber (DNANF)</a:t>
              </a:r>
            </a:p>
          </p:txBody>
        </p:sp>
        <p:sp>
          <p:nvSpPr>
            <p:cNvPr id="16" name="Arrow: Right 15">
              <a:extLst>
                <a:ext uri="{FF2B5EF4-FFF2-40B4-BE49-F238E27FC236}">
                  <a16:creationId xmlns:a16="http://schemas.microsoft.com/office/drawing/2014/main" id="{63B73D14-2F9E-440F-A7C9-719196627152}"/>
                </a:ext>
              </a:extLst>
            </p:cNvPr>
            <p:cNvSpPr/>
            <p:nvPr/>
          </p:nvSpPr>
          <p:spPr>
            <a:xfrm>
              <a:off x="7468070" y="4392583"/>
              <a:ext cx="448887" cy="356061"/>
            </a:xfrm>
            <a:prstGeom prst="rightArrow">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sp>
        <p:nvSpPr>
          <p:cNvPr id="17" name="TextBox 16">
            <a:extLst>
              <a:ext uri="{FF2B5EF4-FFF2-40B4-BE49-F238E27FC236}">
                <a16:creationId xmlns:a16="http://schemas.microsoft.com/office/drawing/2014/main" id="{AD11FAAE-2BAC-4DCE-9355-3D7B808CBE43}"/>
              </a:ext>
            </a:extLst>
          </p:cNvPr>
          <p:cNvSpPr txBox="1"/>
          <p:nvPr/>
        </p:nvSpPr>
        <p:spPr>
          <a:xfrm>
            <a:off x="7535333" y="1495059"/>
            <a:ext cx="4521200" cy="1138773"/>
          </a:xfrm>
          <a:prstGeom prst="rect">
            <a:avLst/>
          </a:prstGeom>
        </p:spPr>
        <p:txBody>
          <a:bodyPr vert="horz" wrap="square" lIns="91440" tIns="45720" rIns="91440" bIns="45720" rtlCol="0">
            <a:spAutoFit/>
          </a:bodyPr>
          <a:lstStyle/>
          <a:p>
            <a:pPr algn="l">
              <a:spcBef>
                <a:spcPct val="20000"/>
              </a:spcBef>
              <a:buClr>
                <a:srgbClr val="6D6E71"/>
              </a:buClr>
            </a:pPr>
            <a:r>
              <a:rPr lang="en-US" sz="2000" dirty="0">
                <a:solidFill>
                  <a:schemeClr val="tx2"/>
                </a:solidFill>
              </a:rPr>
              <a:t>Seems to be at a “technology dead end”:</a:t>
            </a:r>
          </a:p>
          <a:p>
            <a:pPr marL="169863" indent="-169863" algn="l">
              <a:spcBef>
                <a:spcPct val="20000"/>
              </a:spcBef>
              <a:buClr>
                <a:srgbClr val="6D6E71"/>
              </a:buClr>
              <a:buFont typeface="Arial" panose="020B0604020202020204" pitchFamily="34" charset="0"/>
              <a:buChar char="•"/>
            </a:pPr>
            <a:r>
              <a:rPr lang="en-US" sz="2000" dirty="0">
                <a:solidFill>
                  <a:schemeClr val="tx2"/>
                </a:solidFill>
              </a:rPr>
              <a:t>For optical communications</a:t>
            </a:r>
          </a:p>
          <a:p>
            <a:pPr marL="169863" indent="-169863" algn="l">
              <a:spcBef>
                <a:spcPct val="20000"/>
              </a:spcBef>
              <a:buClr>
                <a:srgbClr val="6D6E71"/>
              </a:buClr>
              <a:buFont typeface="Arial" panose="020B0604020202020204" pitchFamily="34" charset="0"/>
              <a:buChar char="•"/>
            </a:pPr>
            <a:r>
              <a:rPr lang="en-US" sz="2000" dirty="0">
                <a:solidFill>
                  <a:schemeClr val="tx2"/>
                </a:solidFill>
              </a:rPr>
              <a:t>For the moment</a:t>
            </a:r>
          </a:p>
        </p:txBody>
      </p:sp>
      <p:sp>
        <p:nvSpPr>
          <p:cNvPr id="19" name="TextBox 18">
            <a:extLst>
              <a:ext uri="{FF2B5EF4-FFF2-40B4-BE49-F238E27FC236}">
                <a16:creationId xmlns:a16="http://schemas.microsoft.com/office/drawing/2014/main" id="{F702DC0A-4C25-4564-9A15-40EB3AA7D834}"/>
              </a:ext>
            </a:extLst>
          </p:cNvPr>
          <p:cNvSpPr txBox="1"/>
          <p:nvPr/>
        </p:nvSpPr>
        <p:spPr>
          <a:xfrm>
            <a:off x="5421075" y="1193353"/>
            <a:ext cx="806631" cy="461665"/>
          </a:xfrm>
          <a:prstGeom prst="rect">
            <a:avLst/>
          </a:prstGeom>
        </p:spPr>
        <p:txBody>
          <a:bodyPr vert="horz" wrap="none" lIns="91440" tIns="45720" rIns="91440" bIns="45720" rtlCol="0">
            <a:spAutoFit/>
          </a:bodyPr>
          <a:lstStyle/>
          <a:p>
            <a:pPr algn="l">
              <a:spcBef>
                <a:spcPct val="20000"/>
              </a:spcBef>
              <a:buClr>
                <a:srgbClr val="6D6E71"/>
              </a:buClr>
            </a:pPr>
            <a:r>
              <a:rPr lang="en-US" sz="2400" dirty="0">
                <a:solidFill>
                  <a:schemeClr val="tx2"/>
                </a:solidFill>
              </a:rPr>
              <a:t>1991</a:t>
            </a:r>
          </a:p>
        </p:txBody>
      </p:sp>
      <p:sp>
        <p:nvSpPr>
          <p:cNvPr id="20" name="TextBox 19">
            <a:extLst>
              <a:ext uri="{FF2B5EF4-FFF2-40B4-BE49-F238E27FC236}">
                <a16:creationId xmlns:a16="http://schemas.microsoft.com/office/drawing/2014/main" id="{DA012432-E93D-489E-881C-BADA62C70A10}"/>
              </a:ext>
            </a:extLst>
          </p:cNvPr>
          <p:cNvSpPr txBox="1"/>
          <p:nvPr/>
        </p:nvSpPr>
        <p:spPr>
          <a:xfrm>
            <a:off x="5432964" y="3657050"/>
            <a:ext cx="806631" cy="461665"/>
          </a:xfrm>
          <a:prstGeom prst="rect">
            <a:avLst/>
          </a:prstGeom>
        </p:spPr>
        <p:txBody>
          <a:bodyPr vert="horz" wrap="none" lIns="91440" tIns="45720" rIns="91440" bIns="45720" rtlCol="0">
            <a:spAutoFit/>
          </a:bodyPr>
          <a:lstStyle/>
          <a:p>
            <a:pPr algn="l">
              <a:spcBef>
                <a:spcPct val="20000"/>
              </a:spcBef>
              <a:buClr>
                <a:srgbClr val="6D6E71"/>
              </a:buClr>
            </a:pPr>
            <a:r>
              <a:rPr lang="en-US" sz="2400" dirty="0">
                <a:solidFill>
                  <a:schemeClr val="tx2"/>
                </a:solidFill>
              </a:rPr>
              <a:t>2011</a:t>
            </a:r>
          </a:p>
        </p:txBody>
      </p:sp>
      <p:sp>
        <p:nvSpPr>
          <p:cNvPr id="23" name="TextBox 22">
            <a:extLst>
              <a:ext uri="{FF2B5EF4-FFF2-40B4-BE49-F238E27FC236}">
                <a16:creationId xmlns:a16="http://schemas.microsoft.com/office/drawing/2014/main" id="{6A9A7B82-BD07-4238-815F-F5B185E57AF4}"/>
              </a:ext>
            </a:extLst>
          </p:cNvPr>
          <p:cNvSpPr txBox="1"/>
          <p:nvPr/>
        </p:nvSpPr>
        <p:spPr>
          <a:xfrm>
            <a:off x="9262051" y="3257586"/>
            <a:ext cx="913007" cy="461665"/>
          </a:xfrm>
          <a:prstGeom prst="rect">
            <a:avLst/>
          </a:prstGeom>
        </p:spPr>
        <p:txBody>
          <a:bodyPr vert="horz" wrap="none" lIns="91440" tIns="45720" rIns="91440" bIns="45720" rtlCol="0">
            <a:spAutoFit/>
          </a:bodyPr>
          <a:lstStyle/>
          <a:p>
            <a:pPr algn="l">
              <a:spcBef>
                <a:spcPct val="20000"/>
              </a:spcBef>
              <a:buClr>
                <a:srgbClr val="6D6E71"/>
              </a:buClr>
            </a:pPr>
            <a:r>
              <a:rPr lang="en-US" sz="2400" dirty="0">
                <a:solidFill>
                  <a:schemeClr val="tx2"/>
                </a:solidFill>
              </a:rPr>
              <a:t>Today</a:t>
            </a:r>
          </a:p>
        </p:txBody>
      </p:sp>
    </p:spTree>
    <p:extLst>
      <p:ext uri="{BB962C8B-B14F-4D97-AF65-F5344CB8AC3E}">
        <p14:creationId xmlns:p14="http://schemas.microsoft.com/office/powerpoint/2010/main" val="102961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wipe(left)">
                                      <p:cBhvr>
                                        <p:cTn id="14" dur="500"/>
                                        <p:tgtEl>
                                          <p:spTgt spid="1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left)">
                                      <p:cBhvr>
                                        <p:cTn id="27" dur="500"/>
                                        <p:tgtEl>
                                          <p:spTgt spid="21"/>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par>
                          <p:cTn id="32" fill="hold">
                            <p:stCondLst>
                              <p:cond delay="1000"/>
                            </p:stCondLst>
                            <p:childTnLst>
                              <p:par>
                                <p:cTn id="33" presetID="22" presetClass="entr" presetSubtype="8" fill="hold"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wipe(left)">
                                      <p:cBhvr>
                                        <p:cTn id="35" dur="500"/>
                                        <p:tgtEl>
                                          <p:spTgt spid="22"/>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7" grpId="0"/>
      <p:bldP spid="19" grpId="0"/>
      <p:bldP spid="20" grpId="0"/>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97479-D429-4769-A0D4-15C5D15C2F50}"/>
              </a:ext>
            </a:extLst>
          </p:cNvPr>
          <p:cNvSpPr>
            <a:spLocks noGrp="1"/>
          </p:cNvSpPr>
          <p:nvPr>
            <p:ph type="title"/>
          </p:nvPr>
        </p:nvSpPr>
        <p:spPr/>
        <p:txBody>
          <a:bodyPr/>
          <a:lstStyle/>
          <a:p>
            <a:r>
              <a:rPr lang="en-US" dirty="0"/>
              <a:t>HCF is (mostly) a Great British Invention!!</a:t>
            </a:r>
          </a:p>
        </p:txBody>
      </p:sp>
      <p:grpSp>
        <p:nvGrpSpPr>
          <p:cNvPr id="16" name="Group 15">
            <a:extLst>
              <a:ext uri="{FF2B5EF4-FFF2-40B4-BE49-F238E27FC236}">
                <a16:creationId xmlns:a16="http://schemas.microsoft.com/office/drawing/2014/main" id="{CAB426BE-5031-4E3A-860D-AED7C47832C7}"/>
              </a:ext>
            </a:extLst>
          </p:cNvPr>
          <p:cNvGrpSpPr/>
          <p:nvPr/>
        </p:nvGrpSpPr>
        <p:grpSpPr>
          <a:xfrm>
            <a:off x="6771214" y="1036714"/>
            <a:ext cx="5128167" cy="1016629"/>
            <a:chOff x="6771214" y="1036714"/>
            <a:chExt cx="5128167" cy="1016629"/>
          </a:xfrm>
        </p:grpSpPr>
        <p:sp>
          <p:nvSpPr>
            <p:cNvPr id="11" name="TextBox 10">
              <a:extLst>
                <a:ext uri="{FF2B5EF4-FFF2-40B4-BE49-F238E27FC236}">
                  <a16:creationId xmlns:a16="http://schemas.microsoft.com/office/drawing/2014/main" id="{62DA1BBF-3800-485E-9092-4175CAAD8D63}"/>
                </a:ext>
              </a:extLst>
            </p:cNvPr>
            <p:cNvSpPr txBox="1"/>
            <p:nvPr/>
          </p:nvSpPr>
          <p:spPr>
            <a:xfrm>
              <a:off x="6771214" y="1036714"/>
              <a:ext cx="3950580" cy="954107"/>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First AR-HCF proposal in 2011 by Dr. AD </a:t>
              </a:r>
              <a:r>
                <a:rPr lang="en-US" sz="2800" dirty="0" err="1">
                  <a:solidFill>
                    <a:schemeClr val="tx2"/>
                  </a:solidFill>
                </a:rPr>
                <a:t>Pryamikov</a:t>
              </a:r>
              <a:endParaRPr lang="en-US" sz="2800" dirty="0">
                <a:solidFill>
                  <a:schemeClr val="tx2"/>
                </a:solidFill>
              </a:endParaRPr>
            </a:p>
          </p:txBody>
        </p:sp>
        <p:pic>
          <p:nvPicPr>
            <p:cNvPr id="12" name="Picture 6">
              <a:extLst>
                <a:ext uri="{FF2B5EF4-FFF2-40B4-BE49-F238E27FC236}">
                  <a16:creationId xmlns:a16="http://schemas.microsoft.com/office/drawing/2014/main" id="{87C9E23B-0BAE-43DE-9178-56F943BFD0A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0791655" y="1088316"/>
              <a:ext cx="1107726" cy="96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14">
            <a:extLst>
              <a:ext uri="{FF2B5EF4-FFF2-40B4-BE49-F238E27FC236}">
                <a16:creationId xmlns:a16="http://schemas.microsoft.com/office/drawing/2014/main" id="{9271C567-4DCC-4549-8669-F8CB85F7CBAA}"/>
              </a:ext>
            </a:extLst>
          </p:cNvPr>
          <p:cNvGrpSpPr/>
          <p:nvPr/>
        </p:nvGrpSpPr>
        <p:grpSpPr>
          <a:xfrm>
            <a:off x="430231" y="1129382"/>
            <a:ext cx="5100726" cy="4225640"/>
            <a:chOff x="430231" y="1129382"/>
            <a:chExt cx="5100726" cy="4225640"/>
          </a:xfrm>
        </p:grpSpPr>
        <p:pic>
          <p:nvPicPr>
            <p:cNvPr id="6" name="Picture 5">
              <a:extLst>
                <a:ext uri="{FF2B5EF4-FFF2-40B4-BE49-F238E27FC236}">
                  <a16:creationId xmlns:a16="http://schemas.microsoft.com/office/drawing/2014/main" id="{0F27A38D-DD5C-492C-A7B1-F7AE3A04B52F}"/>
                </a:ext>
              </a:extLst>
            </p:cNvPr>
            <p:cNvPicPr>
              <a:picLocks noChangeAspect="1"/>
            </p:cNvPicPr>
            <p:nvPr/>
          </p:nvPicPr>
          <p:blipFill>
            <a:blip r:embed="rId3"/>
            <a:stretch>
              <a:fillRect/>
            </a:stretch>
          </p:blipFill>
          <p:spPr>
            <a:xfrm>
              <a:off x="443877" y="2323273"/>
              <a:ext cx="5087080" cy="3031749"/>
            </a:xfrm>
            <a:prstGeom prst="rect">
              <a:avLst/>
            </a:prstGeom>
          </p:spPr>
        </p:pic>
        <p:sp>
          <p:nvSpPr>
            <p:cNvPr id="8" name="TextBox 7">
              <a:extLst>
                <a:ext uri="{FF2B5EF4-FFF2-40B4-BE49-F238E27FC236}">
                  <a16:creationId xmlns:a16="http://schemas.microsoft.com/office/drawing/2014/main" id="{213F4B92-5478-4DA7-97F8-5768EC72D2B8}"/>
                </a:ext>
              </a:extLst>
            </p:cNvPr>
            <p:cNvSpPr txBox="1"/>
            <p:nvPr/>
          </p:nvSpPr>
          <p:spPr>
            <a:xfrm>
              <a:off x="430231" y="1129382"/>
              <a:ext cx="3950580" cy="954107"/>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First HCF proposal in 1991 was Photonic Bandgap</a:t>
              </a:r>
            </a:p>
          </p:txBody>
        </p:sp>
        <p:pic>
          <p:nvPicPr>
            <p:cNvPr id="13" name="Picture 6">
              <a:extLst>
                <a:ext uri="{FF2B5EF4-FFF2-40B4-BE49-F238E27FC236}">
                  <a16:creationId xmlns:a16="http://schemas.microsoft.com/office/drawing/2014/main" id="{555B71E5-2E46-4C2F-B027-F9A20FD0386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4265078" y="1167969"/>
              <a:ext cx="1155709" cy="1006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16">
            <a:extLst>
              <a:ext uri="{FF2B5EF4-FFF2-40B4-BE49-F238E27FC236}">
                <a16:creationId xmlns:a16="http://schemas.microsoft.com/office/drawing/2014/main" id="{DA60B7A7-241E-4D06-B92F-3E5D482B6E63}"/>
              </a:ext>
            </a:extLst>
          </p:cNvPr>
          <p:cNvGrpSpPr/>
          <p:nvPr/>
        </p:nvGrpSpPr>
        <p:grpSpPr>
          <a:xfrm>
            <a:off x="5198454" y="2211185"/>
            <a:ext cx="6546046" cy="4342841"/>
            <a:chOff x="5198454" y="2211185"/>
            <a:chExt cx="6546046" cy="4342841"/>
          </a:xfrm>
        </p:grpSpPr>
        <p:pic>
          <p:nvPicPr>
            <p:cNvPr id="7" name="Picture 6">
              <a:extLst>
                <a:ext uri="{FF2B5EF4-FFF2-40B4-BE49-F238E27FC236}">
                  <a16:creationId xmlns:a16="http://schemas.microsoft.com/office/drawing/2014/main" id="{D60C2366-1AF2-40D9-8121-38ED24041221}"/>
                </a:ext>
              </a:extLst>
            </p:cNvPr>
            <p:cNvPicPr>
              <a:picLocks noChangeAspect="1"/>
            </p:cNvPicPr>
            <p:nvPr/>
          </p:nvPicPr>
          <p:blipFill>
            <a:blip r:embed="rId5"/>
            <a:stretch>
              <a:fillRect/>
            </a:stretch>
          </p:blipFill>
          <p:spPr>
            <a:xfrm>
              <a:off x="5925721" y="2290026"/>
              <a:ext cx="5741323" cy="2993107"/>
            </a:xfrm>
            <a:prstGeom prst="rect">
              <a:avLst/>
            </a:prstGeom>
          </p:spPr>
        </p:pic>
        <p:sp>
          <p:nvSpPr>
            <p:cNvPr id="9" name="TextBox 8">
              <a:extLst>
                <a:ext uri="{FF2B5EF4-FFF2-40B4-BE49-F238E27FC236}">
                  <a16:creationId xmlns:a16="http://schemas.microsoft.com/office/drawing/2014/main" id="{C20DD5F6-A995-4515-8539-B5BE630EE6E2}"/>
                </a:ext>
              </a:extLst>
            </p:cNvPr>
            <p:cNvSpPr txBox="1"/>
            <p:nvPr/>
          </p:nvSpPr>
          <p:spPr>
            <a:xfrm>
              <a:off x="5198454" y="5503497"/>
              <a:ext cx="5628873" cy="954107"/>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The most recent breakthroughs have been at Southampton University</a:t>
              </a:r>
            </a:p>
          </p:txBody>
        </p:sp>
        <p:sp>
          <p:nvSpPr>
            <p:cNvPr id="10" name="Rectangle: Rounded Corners 9">
              <a:extLst>
                <a:ext uri="{FF2B5EF4-FFF2-40B4-BE49-F238E27FC236}">
                  <a16:creationId xmlns:a16="http://schemas.microsoft.com/office/drawing/2014/main" id="{0B0B3FE0-9F27-4EF9-889A-6829BB97554C}"/>
                </a:ext>
              </a:extLst>
            </p:cNvPr>
            <p:cNvSpPr/>
            <p:nvPr/>
          </p:nvSpPr>
          <p:spPr>
            <a:xfrm>
              <a:off x="8861368" y="2211185"/>
              <a:ext cx="2693324" cy="3071948"/>
            </a:xfrm>
            <a:custGeom>
              <a:avLst/>
              <a:gdLst>
                <a:gd name="connsiteX0" fmla="*/ 0 w 2693324"/>
                <a:gd name="connsiteY0" fmla="*/ 131434 h 3071948"/>
                <a:gd name="connsiteX1" fmla="*/ 131434 w 2693324"/>
                <a:gd name="connsiteY1" fmla="*/ 0 h 3071948"/>
                <a:gd name="connsiteX2" fmla="*/ 666134 w 2693324"/>
                <a:gd name="connsiteY2" fmla="*/ 0 h 3071948"/>
                <a:gd name="connsiteX3" fmla="*/ 1127921 w 2693324"/>
                <a:gd name="connsiteY3" fmla="*/ 0 h 3071948"/>
                <a:gd name="connsiteX4" fmla="*/ 1565403 w 2693324"/>
                <a:gd name="connsiteY4" fmla="*/ 0 h 3071948"/>
                <a:gd name="connsiteX5" fmla="*/ 2075799 w 2693324"/>
                <a:gd name="connsiteY5" fmla="*/ 0 h 3071948"/>
                <a:gd name="connsiteX6" fmla="*/ 2561890 w 2693324"/>
                <a:gd name="connsiteY6" fmla="*/ 0 h 3071948"/>
                <a:gd name="connsiteX7" fmla="*/ 2693324 w 2693324"/>
                <a:gd name="connsiteY7" fmla="*/ 131434 h 3071948"/>
                <a:gd name="connsiteX8" fmla="*/ 2693324 w 2693324"/>
                <a:gd name="connsiteY8" fmla="*/ 693250 h 3071948"/>
                <a:gd name="connsiteX9" fmla="*/ 2693324 w 2693324"/>
                <a:gd name="connsiteY9" fmla="*/ 1170794 h 3071948"/>
                <a:gd name="connsiteX10" fmla="*/ 2693324 w 2693324"/>
                <a:gd name="connsiteY10" fmla="*/ 1732610 h 3071948"/>
                <a:gd name="connsiteX11" fmla="*/ 2693324 w 2693324"/>
                <a:gd name="connsiteY11" fmla="*/ 2294426 h 3071948"/>
                <a:gd name="connsiteX12" fmla="*/ 2693324 w 2693324"/>
                <a:gd name="connsiteY12" fmla="*/ 2940514 h 3071948"/>
                <a:gd name="connsiteX13" fmla="*/ 2561890 w 2693324"/>
                <a:gd name="connsiteY13" fmla="*/ 3071948 h 3071948"/>
                <a:gd name="connsiteX14" fmla="*/ 2075799 w 2693324"/>
                <a:gd name="connsiteY14" fmla="*/ 3071948 h 3071948"/>
                <a:gd name="connsiteX15" fmla="*/ 1589708 w 2693324"/>
                <a:gd name="connsiteY15" fmla="*/ 3071948 h 3071948"/>
                <a:gd name="connsiteX16" fmla="*/ 1055007 w 2693324"/>
                <a:gd name="connsiteY16" fmla="*/ 3071948 h 3071948"/>
                <a:gd name="connsiteX17" fmla="*/ 568916 w 2693324"/>
                <a:gd name="connsiteY17" fmla="*/ 3071948 h 3071948"/>
                <a:gd name="connsiteX18" fmla="*/ 131434 w 2693324"/>
                <a:gd name="connsiteY18" fmla="*/ 3071948 h 3071948"/>
                <a:gd name="connsiteX19" fmla="*/ 0 w 2693324"/>
                <a:gd name="connsiteY19" fmla="*/ 2940514 h 3071948"/>
                <a:gd name="connsiteX20" fmla="*/ 0 w 2693324"/>
                <a:gd name="connsiteY20" fmla="*/ 2350607 h 3071948"/>
                <a:gd name="connsiteX21" fmla="*/ 0 w 2693324"/>
                <a:gd name="connsiteY21" fmla="*/ 1844973 h 3071948"/>
                <a:gd name="connsiteX22" fmla="*/ 0 w 2693324"/>
                <a:gd name="connsiteY22" fmla="*/ 1283157 h 3071948"/>
                <a:gd name="connsiteX23" fmla="*/ 0 w 2693324"/>
                <a:gd name="connsiteY23" fmla="*/ 805613 h 3071948"/>
                <a:gd name="connsiteX24" fmla="*/ 0 w 2693324"/>
                <a:gd name="connsiteY24" fmla="*/ 131434 h 307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93324" h="3071948" extrusionOk="0">
                  <a:moveTo>
                    <a:pt x="0" y="131434"/>
                  </a:moveTo>
                  <a:cubicBezTo>
                    <a:pt x="-11782" y="51578"/>
                    <a:pt x="41899" y="6360"/>
                    <a:pt x="131434" y="0"/>
                  </a:cubicBezTo>
                  <a:cubicBezTo>
                    <a:pt x="365389" y="-21761"/>
                    <a:pt x="458157" y="54881"/>
                    <a:pt x="666134" y="0"/>
                  </a:cubicBezTo>
                  <a:cubicBezTo>
                    <a:pt x="874111" y="-54881"/>
                    <a:pt x="1005813" y="55351"/>
                    <a:pt x="1127921" y="0"/>
                  </a:cubicBezTo>
                  <a:cubicBezTo>
                    <a:pt x="1250029" y="-55351"/>
                    <a:pt x="1405581" y="341"/>
                    <a:pt x="1565403" y="0"/>
                  </a:cubicBezTo>
                  <a:cubicBezTo>
                    <a:pt x="1725225" y="-341"/>
                    <a:pt x="1840096" y="44869"/>
                    <a:pt x="2075799" y="0"/>
                  </a:cubicBezTo>
                  <a:cubicBezTo>
                    <a:pt x="2311502" y="-44869"/>
                    <a:pt x="2370913" y="6698"/>
                    <a:pt x="2561890" y="0"/>
                  </a:cubicBezTo>
                  <a:cubicBezTo>
                    <a:pt x="2640239" y="-9373"/>
                    <a:pt x="2687611" y="63866"/>
                    <a:pt x="2693324" y="131434"/>
                  </a:cubicBezTo>
                  <a:cubicBezTo>
                    <a:pt x="2741070" y="400492"/>
                    <a:pt x="2672544" y="552868"/>
                    <a:pt x="2693324" y="693250"/>
                  </a:cubicBezTo>
                  <a:cubicBezTo>
                    <a:pt x="2714104" y="833632"/>
                    <a:pt x="2681674" y="954030"/>
                    <a:pt x="2693324" y="1170794"/>
                  </a:cubicBezTo>
                  <a:cubicBezTo>
                    <a:pt x="2704974" y="1387558"/>
                    <a:pt x="2682831" y="1616599"/>
                    <a:pt x="2693324" y="1732610"/>
                  </a:cubicBezTo>
                  <a:cubicBezTo>
                    <a:pt x="2703817" y="1848621"/>
                    <a:pt x="2684427" y="2077317"/>
                    <a:pt x="2693324" y="2294426"/>
                  </a:cubicBezTo>
                  <a:cubicBezTo>
                    <a:pt x="2702221" y="2511535"/>
                    <a:pt x="2679285" y="2809302"/>
                    <a:pt x="2693324" y="2940514"/>
                  </a:cubicBezTo>
                  <a:cubicBezTo>
                    <a:pt x="2698676" y="3019659"/>
                    <a:pt x="2644340" y="3063314"/>
                    <a:pt x="2561890" y="3071948"/>
                  </a:cubicBezTo>
                  <a:cubicBezTo>
                    <a:pt x="2348043" y="3125084"/>
                    <a:pt x="2275975" y="3048503"/>
                    <a:pt x="2075799" y="3071948"/>
                  </a:cubicBezTo>
                  <a:cubicBezTo>
                    <a:pt x="1875623" y="3095393"/>
                    <a:pt x="1746383" y="3064328"/>
                    <a:pt x="1589708" y="3071948"/>
                  </a:cubicBezTo>
                  <a:cubicBezTo>
                    <a:pt x="1433033" y="3079568"/>
                    <a:pt x="1295142" y="3056563"/>
                    <a:pt x="1055007" y="3071948"/>
                  </a:cubicBezTo>
                  <a:cubicBezTo>
                    <a:pt x="814872" y="3087333"/>
                    <a:pt x="726201" y="3019546"/>
                    <a:pt x="568916" y="3071948"/>
                  </a:cubicBezTo>
                  <a:cubicBezTo>
                    <a:pt x="411631" y="3124350"/>
                    <a:pt x="262204" y="3041167"/>
                    <a:pt x="131434" y="3071948"/>
                  </a:cubicBezTo>
                  <a:cubicBezTo>
                    <a:pt x="37716" y="3072818"/>
                    <a:pt x="9227" y="2996470"/>
                    <a:pt x="0" y="2940514"/>
                  </a:cubicBezTo>
                  <a:cubicBezTo>
                    <a:pt x="-63122" y="2765694"/>
                    <a:pt x="38820" y="2617885"/>
                    <a:pt x="0" y="2350607"/>
                  </a:cubicBezTo>
                  <a:cubicBezTo>
                    <a:pt x="-38820" y="2083329"/>
                    <a:pt x="20588" y="1948061"/>
                    <a:pt x="0" y="1844973"/>
                  </a:cubicBezTo>
                  <a:cubicBezTo>
                    <a:pt x="-20588" y="1741885"/>
                    <a:pt x="12527" y="1490239"/>
                    <a:pt x="0" y="1283157"/>
                  </a:cubicBezTo>
                  <a:cubicBezTo>
                    <a:pt x="-12527" y="1076075"/>
                    <a:pt x="3343" y="918639"/>
                    <a:pt x="0" y="805613"/>
                  </a:cubicBezTo>
                  <a:cubicBezTo>
                    <a:pt x="-3343" y="692587"/>
                    <a:pt x="36897" y="402406"/>
                    <a:pt x="0" y="131434"/>
                  </a:cubicBezTo>
                  <a:close/>
                </a:path>
              </a:pathLst>
            </a:custGeom>
            <a:noFill/>
            <a:ln w="38100">
              <a:solidFill>
                <a:schemeClr val="bg2"/>
              </a:solidFill>
              <a:extLst>
                <a:ext uri="{C807C97D-BFC1-408E-A445-0C87EB9F89A2}">
                  <ask:lineSketchStyleProps xmlns:ask="http://schemas.microsoft.com/office/drawing/2018/sketchyshapes" sd="1219033472">
                    <a:prstGeom prst="roundRect">
                      <a:avLst>
                        <a:gd name="adj" fmla="val 4880"/>
                      </a:avLst>
                    </a:prstGeom>
                    <ask:type>
                      <ask:lineSketchScribble/>
                    </ask:type>
                  </ask:lineSketchStyleProps>
                </a:ext>
              </a:extLs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pic>
          <p:nvPicPr>
            <p:cNvPr id="14" name="Picture 6">
              <a:extLst>
                <a:ext uri="{FF2B5EF4-FFF2-40B4-BE49-F238E27FC236}">
                  <a16:creationId xmlns:a16="http://schemas.microsoft.com/office/drawing/2014/main" id="{BAE5DEED-A315-477F-ABC7-11F45BC80CC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0588791" y="5547197"/>
              <a:ext cx="1155709" cy="1006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514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E7518A7-5400-161C-2402-A37B79B47669}"/>
              </a:ext>
            </a:extLst>
          </p:cNvPr>
          <p:cNvGrpSpPr/>
          <p:nvPr/>
        </p:nvGrpSpPr>
        <p:grpSpPr>
          <a:xfrm>
            <a:off x="667784" y="3802756"/>
            <a:ext cx="10117968" cy="2288181"/>
            <a:chOff x="667784" y="3802756"/>
            <a:chExt cx="10117968" cy="2288181"/>
          </a:xfrm>
        </p:grpSpPr>
        <p:pic>
          <p:nvPicPr>
            <p:cNvPr id="12" name="Picture 11" descr="Shape, circle&#10;&#10;Description automatically generated">
              <a:extLst>
                <a:ext uri="{FF2B5EF4-FFF2-40B4-BE49-F238E27FC236}">
                  <a16:creationId xmlns:a16="http://schemas.microsoft.com/office/drawing/2014/main" id="{6E65DE49-F933-4055-B96B-EBC39E7E43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784" y="3802756"/>
              <a:ext cx="6938430" cy="2288181"/>
            </a:xfrm>
            <a:prstGeom prst="rect">
              <a:avLst/>
            </a:prstGeom>
          </p:spPr>
        </p:pic>
        <p:sp>
          <p:nvSpPr>
            <p:cNvPr id="16" name="TextBox 15">
              <a:extLst>
                <a:ext uri="{FF2B5EF4-FFF2-40B4-BE49-F238E27FC236}">
                  <a16:creationId xmlns:a16="http://schemas.microsoft.com/office/drawing/2014/main" id="{F5A609AC-425D-4F81-B462-D6C3104D9A9C}"/>
                </a:ext>
              </a:extLst>
            </p:cNvPr>
            <p:cNvSpPr txBox="1"/>
            <p:nvPr/>
          </p:nvSpPr>
          <p:spPr>
            <a:xfrm>
              <a:off x="8712812" y="4245995"/>
              <a:ext cx="2072940" cy="1311128"/>
            </a:xfrm>
            <a:prstGeom prst="rect">
              <a:avLst/>
            </a:prstGeom>
          </p:spPr>
          <p:txBody>
            <a:bodyPr vert="horz" wrap="none" lIns="91440" tIns="45720" rIns="91440" bIns="45720" rtlCol="0">
              <a:spAutoFit/>
            </a:bodyPr>
            <a:lstStyle/>
            <a:p>
              <a:pPr algn="ctr">
                <a:spcBef>
                  <a:spcPct val="20000"/>
                </a:spcBef>
                <a:buClr>
                  <a:srgbClr val="6D6E71"/>
                </a:buClr>
              </a:pPr>
              <a:r>
                <a:rPr lang="en-US" sz="3600" dirty="0">
                  <a:solidFill>
                    <a:schemeClr val="tx2"/>
                  </a:solidFill>
                  <a:sym typeface="Wingdings" panose="05000000000000000000" pitchFamily="2" charset="2"/>
                </a:rPr>
                <a:t>Nested</a:t>
              </a:r>
            </a:p>
            <a:p>
              <a:pPr algn="ctr">
                <a:spcBef>
                  <a:spcPct val="20000"/>
                </a:spcBef>
                <a:buClr>
                  <a:srgbClr val="6D6E71"/>
                </a:buClr>
              </a:pPr>
              <a:r>
                <a:rPr lang="en-US" sz="3600" dirty="0">
                  <a:solidFill>
                    <a:schemeClr val="tx2"/>
                  </a:solidFill>
                  <a:sym typeface="Wingdings" panose="05000000000000000000" pitchFamily="2" charset="2"/>
                </a:rPr>
                <a:t>structures</a:t>
              </a:r>
              <a:endParaRPr lang="en-US" sz="3600" dirty="0">
                <a:solidFill>
                  <a:schemeClr val="tx2"/>
                </a:solidFill>
              </a:endParaRPr>
            </a:p>
          </p:txBody>
        </p:sp>
      </p:grpSp>
      <p:grpSp>
        <p:nvGrpSpPr>
          <p:cNvPr id="3" name="Group 2">
            <a:extLst>
              <a:ext uri="{FF2B5EF4-FFF2-40B4-BE49-F238E27FC236}">
                <a16:creationId xmlns:a16="http://schemas.microsoft.com/office/drawing/2014/main" id="{D4A87166-2B13-0018-07C1-2655A88A5018}"/>
              </a:ext>
            </a:extLst>
          </p:cNvPr>
          <p:cNvGrpSpPr/>
          <p:nvPr/>
        </p:nvGrpSpPr>
        <p:grpSpPr>
          <a:xfrm>
            <a:off x="598515" y="837011"/>
            <a:ext cx="10295391" cy="2322815"/>
            <a:chOff x="598515" y="837011"/>
            <a:chExt cx="10295391" cy="2322815"/>
          </a:xfrm>
        </p:grpSpPr>
        <p:pic>
          <p:nvPicPr>
            <p:cNvPr id="8" name="Picture 7" descr="A picture containing text, chain, projector, gear&#10;&#10;Description automatically generated">
              <a:extLst>
                <a:ext uri="{FF2B5EF4-FFF2-40B4-BE49-F238E27FC236}">
                  <a16:creationId xmlns:a16="http://schemas.microsoft.com/office/drawing/2014/main" id="{724CA6D6-2A14-416A-8A31-49DE9CC354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515" y="837011"/>
              <a:ext cx="7007699" cy="2322815"/>
            </a:xfrm>
            <a:prstGeom prst="rect">
              <a:avLst/>
            </a:prstGeom>
          </p:spPr>
        </p:pic>
        <p:sp>
          <p:nvSpPr>
            <p:cNvPr id="13" name="TextBox 12">
              <a:extLst>
                <a:ext uri="{FF2B5EF4-FFF2-40B4-BE49-F238E27FC236}">
                  <a16:creationId xmlns:a16="http://schemas.microsoft.com/office/drawing/2014/main" id="{149D0E4B-5AAC-491F-87D8-7EA6AC2F3DF0}"/>
                </a:ext>
              </a:extLst>
            </p:cNvPr>
            <p:cNvSpPr txBox="1"/>
            <p:nvPr/>
          </p:nvSpPr>
          <p:spPr>
            <a:xfrm>
              <a:off x="8537171" y="1649286"/>
              <a:ext cx="2356735" cy="646331"/>
            </a:xfrm>
            <a:prstGeom prst="rect">
              <a:avLst/>
            </a:prstGeom>
          </p:spPr>
          <p:txBody>
            <a:bodyPr vert="horz" wrap="none" lIns="91440" tIns="45720" rIns="91440" bIns="45720" rtlCol="0">
              <a:spAutoFit/>
            </a:bodyPr>
            <a:lstStyle/>
            <a:p>
              <a:pPr algn="l">
                <a:spcBef>
                  <a:spcPct val="20000"/>
                </a:spcBef>
                <a:buClr>
                  <a:srgbClr val="6D6E71"/>
                </a:buClr>
              </a:pPr>
              <a:r>
                <a:rPr lang="en-US" sz="3600" dirty="0">
                  <a:solidFill>
                    <a:schemeClr val="tx2"/>
                  </a:solidFill>
                  <a:sym typeface="Wingdings" panose="05000000000000000000" pitchFamily="2" charset="2"/>
                </a:rPr>
                <a:t>PBG  ARF</a:t>
              </a:r>
              <a:endParaRPr lang="en-US" sz="3600" dirty="0">
                <a:solidFill>
                  <a:schemeClr val="tx2"/>
                </a:solidFill>
              </a:endParaRPr>
            </a:p>
          </p:txBody>
        </p:sp>
        <p:sp>
          <p:nvSpPr>
            <p:cNvPr id="14" name="Rectangle: Rounded Corners 13">
              <a:extLst>
                <a:ext uri="{FF2B5EF4-FFF2-40B4-BE49-F238E27FC236}">
                  <a16:creationId xmlns:a16="http://schemas.microsoft.com/office/drawing/2014/main" id="{876304A1-BD07-442C-8E69-ED1B13089439}"/>
                </a:ext>
              </a:extLst>
            </p:cNvPr>
            <p:cNvSpPr/>
            <p:nvPr/>
          </p:nvSpPr>
          <p:spPr>
            <a:xfrm>
              <a:off x="1737360" y="1822289"/>
              <a:ext cx="1080654" cy="325521"/>
            </a:xfrm>
            <a:prstGeom prst="roundRect">
              <a:avLst>
                <a:gd name="adj" fmla="val 50000"/>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bg1"/>
                  </a:solidFill>
                </a:rPr>
                <a:t>PBG</a:t>
              </a:r>
            </a:p>
          </p:txBody>
        </p:sp>
        <p:sp>
          <p:nvSpPr>
            <p:cNvPr id="15" name="Rectangle: Rounded Corners 14">
              <a:extLst>
                <a:ext uri="{FF2B5EF4-FFF2-40B4-BE49-F238E27FC236}">
                  <a16:creationId xmlns:a16="http://schemas.microsoft.com/office/drawing/2014/main" id="{624E1B66-0EC5-44A8-9E82-95CED0D3EA70}"/>
                </a:ext>
              </a:extLst>
            </p:cNvPr>
            <p:cNvSpPr/>
            <p:nvPr/>
          </p:nvSpPr>
          <p:spPr>
            <a:xfrm>
              <a:off x="5281346" y="1822288"/>
              <a:ext cx="1080654" cy="325521"/>
            </a:xfrm>
            <a:prstGeom prst="roundRect">
              <a:avLst>
                <a:gd name="adj" fmla="val 50000"/>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bg1"/>
                  </a:solidFill>
                </a:rPr>
                <a:t>ARF</a:t>
              </a:r>
            </a:p>
          </p:txBody>
        </p:sp>
      </p:grpSp>
      <p:sp>
        <p:nvSpPr>
          <p:cNvPr id="2" name="Title 1">
            <a:extLst>
              <a:ext uri="{FF2B5EF4-FFF2-40B4-BE49-F238E27FC236}">
                <a16:creationId xmlns:a16="http://schemas.microsoft.com/office/drawing/2014/main" id="{24321BAC-8A7F-498D-897D-3F55C40D6D7A}"/>
              </a:ext>
            </a:extLst>
          </p:cNvPr>
          <p:cNvSpPr>
            <a:spLocks noGrp="1"/>
          </p:cNvSpPr>
          <p:nvPr>
            <p:ph type="title"/>
          </p:nvPr>
        </p:nvSpPr>
        <p:spPr/>
        <p:txBody>
          <a:bodyPr/>
          <a:lstStyle/>
          <a:p>
            <a:r>
              <a:rPr lang="en-US" dirty="0"/>
              <a:t>Another evolutionary view</a:t>
            </a:r>
          </a:p>
        </p:txBody>
      </p:sp>
      <p:pic>
        <p:nvPicPr>
          <p:cNvPr id="6" name="Content Placeholder 5" descr="Text&#10;&#10;Description automatically generated">
            <a:extLst>
              <a:ext uri="{FF2B5EF4-FFF2-40B4-BE49-F238E27FC236}">
                <a16:creationId xmlns:a16="http://schemas.microsoft.com/office/drawing/2014/main" id="{8FCFED54-5BC0-45A5-9161-F2B11CFD2CB5}"/>
              </a:ext>
            </a:extLst>
          </p:cNvPr>
          <p:cNvPicPr>
            <a:picLocks noGrp="1" noChangeAspect="1"/>
          </p:cNvPicPr>
          <p:nvPr>
            <p:ph idx="1"/>
          </p:nvPr>
        </p:nvPicPr>
        <p:blipFill rotWithShape="1">
          <a:blip r:embed="rId4">
            <a:extLst>
              <a:ext uri="{28A0092B-C50C-407E-A947-70E740481C1C}">
                <a14:useLocalDpi xmlns:a14="http://schemas.microsoft.com/office/drawing/2010/main" val="0"/>
              </a:ext>
            </a:extLst>
          </a:blip>
          <a:srcRect t="9417" b="10495"/>
          <a:stretch/>
        </p:blipFill>
        <p:spPr>
          <a:xfrm>
            <a:off x="3158905" y="3014134"/>
            <a:ext cx="2498853" cy="6840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descr="Text, letter&#10;&#10;Description automatically generated">
            <a:extLst>
              <a:ext uri="{FF2B5EF4-FFF2-40B4-BE49-F238E27FC236}">
                <a16:creationId xmlns:a16="http://schemas.microsoft.com/office/drawing/2014/main" id="{40653385-6B87-4840-968B-FBBA1D3C8EE0}"/>
              </a:ext>
            </a:extLst>
          </p:cNvPr>
          <p:cNvPicPr>
            <a:picLocks noChangeAspect="1"/>
          </p:cNvPicPr>
          <p:nvPr/>
        </p:nvPicPr>
        <p:blipFill rotWithShape="1">
          <a:blip r:embed="rId5">
            <a:extLst>
              <a:ext uri="{28A0092B-C50C-407E-A947-70E740481C1C}">
                <a14:useLocalDpi xmlns:a14="http://schemas.microsoft.com/office/drawing/2010/main" val="0"/>
              </a:ext>
            </a:extLst>
          </a:blip>
          <a:srcRect t="6415" b="8675"/>
          <a:stretch/>
        </p:blipFill>
        <p:spPr>
          <a:xfrm>
            <a:off x="3233722" y="5957106"/>
            <a:ext cx="1924149" cy="6362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28" name="Group 27">
            <a:extLst>
              <a:ext uri="{FF2B5EF4-FFF2-40B4-BE49-F238E27FC236}">
                <a16:creationId xmlns:a16="http://schemas.microsoft.com/office/drawing/2014/main" id="{A7943566-1C87-44ED-B018-F0D7C1D6C8AB}"/>
              </a:ext>
            </a:extLst>
          </p:cNvPr>
          <p:cNvGrpSpPr/>
          <p:nvPr/>
        </p:nvGrpSpPr>
        <p:grpSpPr>
          <a:xfrm>
            <a:off x="6004291" y="3356681"/>
            <a:ext cx="2331931" cy="2239049"/>
            <a:chOff x="6004291" y="3356681"/>
            <a:chExt cx="2331931" cy="2239049"/>
          </a:xfrm>
        </p:grpSpPr>
        <p:cxnSp>
          <p:nvCxnSpPr>
            <p:cNvPr id="18" name="Straight Connector 17">
              <a:extLst>
                <a:ext uri="{FF2B5EF4-FFF2-40B4-BE49-F238E27FC236}">
                  <a16:creationId xmlns:a16="http://schemas.microsoft.com/office/drawing/2014/main" id="{0CF00474-CF64-4315-A63C-BAFBD38B1F30}"/>
                </a:ext>
              </a:extLst>
            </p:cNvPr>
            <p:cNvCxnSpPr>
              <a:cxnSpLocks/>
            </p:cNvCxnSpPr>
            <p:nvPr/>
          </p:nvCxnSpPr>
          <p:spPr>
            <a:xfrm>
              <a:off x="7480360" y="4196297"/>
              <a:ext cx="0" cy="1399433"/>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60126488-9575-4504-97EB-E0D4E7A1206D}"/>
                </a:ext>
              </a:extLst>
            </p:cNvPr>
            <p:cNvSpPr txBox="1"/>
            <p:nvPr/>
          </p:nvSpPr>
          <p:spPr>
            <a:xfrm rot="5400000">
              <a:off x="7317192" y="4621697"/>
              <a:ext cx="978153" cy="400110"/>
            </a:xfrm>
            <a:prstGeom prst="rect">
              <a:avLst/>
            </a:prstGeom>
          </p:spPr>
          <p:txBody>
            <a:bodyPr vert="horz" wrap="none" lIns="91440" tIns="45720" rIns="91440" bIns="45720" rtlCol="0">
              <a:spAutoFit/>
            </a:bodyPr>
            <a:lstStyle/>
            <a:p>
              <a:pPr algn="l">
                <a:spcBef>
                  <a:spcPct val="20000"/>
                </a:spcBef>
                <a:buClr>
                  <a:srgbClr val="6D6E71"/>
                </a:buClr>
              </a:pPr>
              <a:r>
                <a:rPr lang="en-US" sz="2000" dirty="0">
                  <a:solidFill>
                    <a:schemeClr val="tx2"/>
                  </a:solidFill>
                </a:rPr>
                <a:t>125 µm</a:t>
              </a:r>
            </a:p>
          </p:txBody>
        </p:sp>
        <p:sp>
          <p:nvSpPr>
            <p:cNvPr id="21" name="TextBox 20">
              <a:extLst>
                <a:ext uri="{FF2B5EF4-FFF2-40B4-BE49-F238E27FC236}">
                  <a16:creationId xmlns:a16="http://schemas.microsoft.com/office/drawing/2014/main" id="{AEB5EE86-6A19-4AC4-852E-0E60E516E4F6}"/>
                </a:ext>
              </a:extLst>
            </p:cNvPr>
            <p:cNvSpPr txBox="1"/>
            <p:nvPr/>
          </p:nvSpPr>
          <p:spPr>
            <a:xfrm>
              <a:off x="6004291" y="3356681"/>
              <a:ext cx="1059906" cy="400110"/>
            </a:xfrm>
            <a:prstGeom prst="rect">
              <a:avLst/>
            </a:prstGeom>
          </p:spPr>
          <p:txBody>
            <a:bodyPr vert="horz" wrap="none" lIns="91440" tIns="45720" rIns="91440" bIns="45720" rtlCol="0">
              <a:spAutoFit/>
            </a:bodyPr>
            <a:lstStyle/>
            <a:p>
              <a:pPr algn="l">
                <a:spcBef>
                  <a:spcPct val="20000"/>
                </a:spcBef>
                <a:buClr>
                  <a:srgbClr val="6D6E71"/>
                </a:buClr>
              </a:pPr>
              <a:r>
                <a:rPr lang="en-US" sz="2000" dirty="0">
                  <a:solidFill>
                    <a:schemeClr val="tx2"/>
                  </a:solidFill>
                  <a:sym typeface="Symbol" panose="05050102010706020507" pitchFamily="18" charset="2"/>
                </a:rPr>
                <a:t></a:t>
              </a:r>
              <a:r>
                <a:rPr lang="en-US" sz="2000" dirty="0">
                  <a:solidFill>
                    <a:schemeClr val="tx2"/>
                  </a:solidFill>
                </a:rPr>
                <a:t>30 µm</a:t>
              </a:r>
            </a:p>
          </p:txBody>
        </p:sp>
        <p:sp>
          <p:nvSpPr>
            <p:cNvPr id="22" name="TextBox 21">
              <a:extLst>
                <a:ext uri="{FF2B5EF4-FFF2-40B4-BE49-F238E27FC236}">
                  <a16:creationId xmlns:a16="http://schemas.microsoft.com/office/drawing/2014/main" id="{7A10D739-E24F-4AD2-B709-B9B7ECF11FE6}"/>
                </a:ext>
              </a:extLst>
            </p:cNvPr>
            <p:cNvSpPr txBox="1"/>
            <p:nvPr/>
          </p:nvSpPr>
          <p:spPr>
            <a:xfrm>
              <a:off x="7276316" y="3611100"/>
              <a:ext cx="1059906" cy="400110"/>
            </a:xfrm>
            <a:prstGeom prst="rect">
              <a:avLst/>
            </a:prstGeom>
          </p:spPr>
          <p:txBody>
            <a:bodyPr vert="horz" wrap="none" lIns="91440" tIns="45720" rIns="91440" bIns="45720" rtlCol="0">
              <a:spAutoFit/>
            </a:bodyPr>
            <a:lstStyle/>
            <a:p>
              <a:pPr algn="l">
                <a:spcBef>
                  <a:spcPct val="20000"/>
                </a:spcBef>
                <a:buClr>
                  <a:srgbClr val="6D6E71"/>
                </a:buClr>
              </a:pPr>
              <a:r>
                <a:rPr lang="en-US" sz="2000" dirty="0">
                  <a:solidFill>
                    <a:schemeClr val="tx2"/>
                  </a:solidFill>
                  <a:sym typeface="Symbol" panose="05050102010706020507" pitchFamily="18" charset="2"/>
                </a:rPr>
                <a:t>1</a:t>
              </a:r>
              <a:r>
                <a:rPr lang="en-US" sz="2000" dirty="0">
                  <a:solidFill>
                    <a:schemeClr val="tx2"/>
                  </a:solidFill>
                </a:rPr>
                <a:t>0 µm</a:t>
              </a:r>
            </a:p>
          </p:txBody>
        </p:sp>
        <p:cxnSp>
          <p:nvCxnSpPr>
            <p:cNvPr id="23" name="Straight Connector 22">
              <a:extLst>
                <a:ext uri="{FF2B5EF4-FFF2-40B4-BE49-F238E27FC236}">
                  <a16:creationId xmlns:a16="http://schemas.microsoft.com/office/drawing/2014/main" id="{8DFB0829-01F7-40C3-A4DD-5F95003A692C}"/>
                </a:ext>
              </a:extLst>
            </p:cNvPr>
            <p:cNvCxnSpPr>
              <a:cxnSpLocks/>
            </p:cNvCxnSpPr>
            <p:nvPr/>
          </p:nvCxnSpPr>
          <p:spPr>
            <a:xfrm>
              <a:off x="6251221" y="3698176"/>
              <a:ext cx="283023" cy="547819"/>
            </a:xfrm>
            <a:prstGeom prst="line">
              <a:avLst/>
            </a:prstGeom>
            <a:ln>
              <a:solidFill>
                <a:schemeClr val="tx2"/>
              </a:solidFill>
              <a:headEnd type="none" w="med" len="med"/>
              <a:tailEnd type="arrow" w="med" len="med"/>
            </a:ln>
            <a:effectLst>
              <a:glow rad="101600">
                <a:schemeClr val="bg1">
                  <a:alpha val="70000"/>
                </a:schemeClr>
              </a:glow>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478A4BB5-769E-458C-BCDB-B8CB2104C32B}"/>
                </a:ext>
              </a:extLst>
            </p:cNvPr>
            <p:cNvCxnSpPr>
              <a:cxnSpLocks/>
            </p:cNvCxnSpPr>
            <p:nvPr/>
          </p:nvCxnSpPr>
          <p:spPr>
            <a:xfrm flipH="1">
              <a:off x="7064197" y="3948447"/>
              <a:ext cx="290310" cy="297548"/>
            </a:xfrm>
            <a:prstGeom prst="line">
              <a:avLst/>
            </a:prstGeom>
            <a:ln>
              <a:solidFill>
                <a:schemeClr val="tx2"/>
              </a:solidFill>
              <a:headEnd type="none" w="med" len="med"/>
              <a:tailEnd type="arrow" w="med" len="med"/>
            </a:ln>
            <a:effectLst>
              <a:glow rad="101600">
                <a:schemeClr val="bg1">
                  <a:alpha val="70000"/>
                </a:schemeClr>
              </a:glow>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6247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500"/>
                            </p:stCondLst>
                            <p:childTnLst>
                              <p:par>
                                <p:cTn id="20" presetID="53" presetClass="entr" presetSubtype="16"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 calcmode="lin" valueType="num">
                                      <p:cBhvr>
                                        <p:cTn id="22" dur="500" fill="hold"/>
                                        <p:tgtEl>
                                          <p:spTgt spid="10"/>
                                        </p:tgtEl>
                                        <p:attrNameLst>
                                          <p:attrName>ppt_w</p:attrName>
                                        </p:attrNameLst>
                                      </p:cBhvr>
                                      <p:tavLst>
                                        <p:tav tm="0">
                                          <p:val>
                                            <p:fltVal val="0"/>
                                          </p:val>
                                        </p:tav>
                                        <p:tav tm="100000">
                                          <p:val>
                                            <p:strVal val="#ppt_w"/>
                                          </p:val>
                                        </p:tav>
                                      </p:tavLst>
                                    </p:anim>
                                    <p:anim calcmode="lin" valueType="num">
                                      <p:cBhvr>
                                        <p:cTn id="23" dur="500" fill="hold"/>
                                        <p:tgtEl>
                                          <p:spTgt spid="10"/>
                                        </p:tgtEl>
                                        <p:attrNameLst>
                                          <p:attrName>ppt_h</p:attrName>
                                        </p:attrNameLst>
                                      </p:cBhvr>
                                      <p:tavLst>
                                        <p:tav tm="0">
                                          <p:val>
                                            <p:fltVal val="0"/>
                                          </p:val>
                                        </p:tav>
                                        <p:tav tm="100000">
                                          <p:val>
                                            <p:strVal val="#ppt_h"/>
                                          </p:val>
                                        </p:tav>
                                      </p:tavLst>
                                    </p:anim>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FAC87-3BD4-4A6B-A15E-BB2E94E4FE18}"/>
              </a:ext>
            </a:extLst>
          </p:cNvPr>
          <p:cNvSpPr>
            <a:spLocks noGrp="1"/>
          </p:cNvSpPr>
          <p:nvPr>
            <p:ph type="title"/>
          </p:nvPr>
        </p:nvSpPr>
        <p:spPr/>
        <p:txBody>
          <a:bodyPr/>
          <a:lstStyle/>
          <a:p>
            <a:r>
              <a:rPr lang="en-US" dirty="0"/>
              <a:t>The Big News This Year (Announced at OFC)</a:t>
            </a:r>
          </a:p>
        </p:txBody>
      </p:sp>
      <p:pic>
        <p:nvPicPr>
          <p:cNvPr id="9" name="Picture 8">
            <a:extLst>
              <a:ext uri="{FF2B5EF4-FFF2-40B4-BE49-F238E27FC236}">
                <a16:creationId xmlns:a16="http://schemas.microsoft.com/office/drawing/2014/main" id="{BEDA323B-B79B-493D-B4A2-932FDC48C004}"/>
              </a:ext>
            </a:extLst>
          </p:cNvPr>
          <p:cNvPicPr>
            <a:picLocks noChangeAspect="1"/>
          </p:cNvPicPr>
          <p:nvPr/>
        </p:nvPicPr>
        <p:blipFill>
          <a:blip r:embed="rId2"/>
          <a:stretch>
            <a:fillRect/>
          </a:stretch>
        </p:blipFill>
        <p:spPr>
          <a:xfrm>
            <a:off x="249721" y="937592"/>
            <a:ext cx="7224505" cy="1746104"/>
          </a:xfrm>
          <a:prstGeom prst="rect">
            <a:avLst/>
          </a:prstGeom>
        </p:spPr>
      </p:pic>
      <p:grpSp>
        <p:nvGrpSpPr>
          <p:cNvPr id="21" name="Group 20">
            <a:extLst>
              <a:ext uri="{FF2B5EF4-FFF2-40B4-BE49-F238E27FC236}">
                <a16:creationId xmlns:a16="http://schemas.microsoft.com/office/drawing/2014/main" id="{256E8C39-7D06-41E6-B5EB-2B5D19CEE4B3}"/>
              </a:ext>
            </a:extLst>
          </p:cNvPr>
          <p:cNvGrpSpPr/>
          <p:nvPr/>
        </p:nvGrpSpPr>
        <p:grpSpPr>
          <a:xfrm>
            <a:off x="653498" y="3009148"/>
            <a:ext cx="5389495" cy="2270509"/>
            <a:chOff x="653498" y="3009148"/>
            <a:chExt cx="5389495" cy="2270509"/>
          </a:xfrm>
        </p:grpSpPr>
        <p:sp>
          <p:nvSpPr>
            <p:cNvPr id="11" name="TextBox 10">
              <a:extLst>
                <a:ext uri="{FF2B5EF4-FFF2-40B4-BE49-F238E27FC236}">
                  <a16:creationId xmlns:a16="http://schemas.microsoft.com/office/drawing/2014/main" id="{CCFCA65C-E2F8-4C78-858C-4346BE89638D}"/>
                </a:ext>
              </a:extLst>
            </p:cNvPr>
            <p:cNvSpPr txBox="1"/>
            <p:nvPr/>
          </p:nvSpPr>
          <p:spPr>
            <a:xfrm>
              <a:off x="653498" y="3925953"/>
              <a:ext cx="5389495" cy="1353704"/>
            </a:xfrm>
            <a:prstGeom prst="rect">
              <a:avLst/>
            </a:prstGeom>
            <a:noFill/>
          </p:spPr>
          <p:txBody>
            <a:bodyPr wrap="square">
              <a:spAutoFit/>
            </a:bodyPr>
            <a:lstStyle/>
            <a:p>
              <a:pPr marR="0" lvl="0">
                <a:lnSpc>
                  <a:spcPct val="107000"/>
                </a:lnSpc>
                <a:spcBef>
                  <a:spcPts val="1800"/>
                </a:spcBef>
                <a:spcAft>
                  <a:spcPts val="0"/>
                </a:spcAft>
              </a:pPr>
              <a:r>
                <a:rPr lang="en-US" sz="3200" dirty="0">
                  <a:effectLst/>
                  <a:latin typeface="Calibri" panose="020F0502020204030204" pitchFamily="34" charset="0"/>
                  <a:ea typeface="Calibri" panose="020F0502020204030204" pitchFamily="34" charset="0"/>
                  <a:cs typeface="Times New Roman" panose="02020603050405020304" pitchFamily="18" charset="0"/>
                </a:rPr>
                <a:t>&lt;</a:t>
              </a:r>
              <a:r>
                <a:rPr lang="en-US" sz="3200" b="1"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0.22 dB</a:t>
              </a:r>
              <a:r>
                <a:rPr lang="en-US" sz="3200" b="1" dirty="0">
                  <a:solidFill>
                    <a:schemeClr val="accent4"/>
                  </a:solidFill>
                  <a:effectLst/>
                  <a:latin typeface="Calibri" panose="020F0502020204030204" pitchFamily="34" charset="0"/>
                  <a:ea typeface="Calibri" panose="020F0502020204030204" pitchFamily="34" charset="0"/>
                  <a:cs typeface="Times New Roman" panose="02020603050405020304" pitchFamily="18" charset="0"/>
                </a:rPr>
                <a:t> </a:t>
              </a:r>
              <a:r>
                <a:rPr lang="en-US" sz="3200" dirty="0">
                  <a:effectLst/>
                  <a:latin typeface="Calibri" panose="020F0502020204030204" pitchFamily="34" charset="0"/>
                  <a:ea typeface="Calibri" panose="020F0502020204030204" pitchFamily="34" charset="0"/>
                  <a:cs typeface="Times New Roman" panose="02020603050405020304" pitchFamily="18" charset="0"/>
                </a:rPr>
                <a:t>per km at 1310 nm</a:t>
              </a:r>
            </a:p>
            <a:p>
              <a:pPr marR="0" lvl="0">
                <a:lnSpc>
                  <a:spcPct val="107000"/>
                </a:lnSpc>
                <a:spcBef>
                  <a:spcPts val="1800"/>
                </a:spcBef>
                <a:spcAft>
                  <a:spcPts val="800"/>
                </a:spcAft>
              </a:pPr>
              <a:r>
                <a:rPr lang="en-US" sz="3200" dirty="0">
                  <a:effectLst/>
                  <a:latin typeface="Calibri" panose="020F0502020204030204" pitchFamily="34" charset="0"/>
                  <a:ea typeface="Calibri" panose="020F0502020204030204" pitchFamily="34" charset="0"/>
                  <a:cs typeface="Times New Roman" panose="02020603050405020304" pitchFamily="18" charset="0"/>
                </a:rPr>
                <a:t>&lt;</a:t>
              </a:r>
              <a:r>
                <a:rPr lang="en-US" sz="3200" b="1"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rPr>
                <a:t>0.18 dB </a:t>
              </a:r>
              <a:r>
                <a:rPr lang="en-US" sz="3200" dirty="0">
                  <a:effectLst/>
                  <a:latin typeface="Calibri" panose="020F0502020204030204" pitchFamily="34" charset="0"/>
                  <a:ea typeface="Calibri" panose="020F0502020204030204" pitchFamily="34" charset="0"/>
                  <a:cs typeface="Times New Roman" panose="02020603050405020304" pitchFamily="18" charset="0"/>
                </a:rPr>
                <a:t>per km at 1550 nm</a:t>
              </a:r>
            </a:p>
          </p:txBody>
        </p:sp>
        <p:sp>
          <p:nvSpPr>
            <p:cNvPr id="12" name="TextBox 11">
              <a:extLst>
                <a:ext uri="{FF2B5EF4-FFF2-40B4-BE49-F238E27FC236}">
                  <a16:creationId xmlns:a16="http://schemas.microsoft.com/office/drawing/2014/main" id="{7B946236-2E93-410F-A004-8ADC1FE2B4D8}"/>
                </a:ext>
              </a:extLst>
            </p:cNvPr>
            <p:cNvSpPr txBox="1"/>
            <p:nvPr/>
          </p:nvSpPr>
          <p:spPr>
            <a:xfrm>
              <a:off x="2482463" y="3009148"/>
              <a:ext cx="1731564" cy="707886"/>
            </a:xfrm>
            <a:prstGeom prst="rect">
              <a:avLst/>
            </a:prstGeom>
          </p:spPr>
          <p:txBody>
            <a:bodyPr vert="horz" wrap="none" lIns="91440" tIns="45720" rIns="91440" bIns="45720" rtlCol="0">
              <a:spAutoFit/>
            </a:bodyPr>
            <a:lstStyle/>
            <a:p>
              <a:pPr algn="l">
                <a:spcBef>
                  <a:spcPct val="20000"/>
                </a:spcBef>
                <a:buClr>
                  <a:srgbClr val="6D6E71"/>
                </a:buClr>
              </a:pPr>
              <a:r>
                <a:rPr lang="en-US" sz="4000" b="1" u="sng" dirty="0">
                  <a:solidFill>
                    <a:schemeClr val="tx2"/>
                  </a:solidFill>
                </a:rPr>
                <a:t>DNANF</a:t>
              </a:r>
            </a:p>
          </p:txBody>
        </p:sp>
      </p:grpSp>
      <p:sp>
        <p:nvSpPr>
          <p:cNvPr id="13" name="TextBox 12">
            <a:extLst>
              <a:ext uri="{FF2B5EF4-FFF2-40B4-BE49-F238E27FC236}">
                <a16:creationId xmlns:a16="http://schemas.microsoft.com/office/drawing/2014/main" id="{E9BDB077-CF88-46C2-B77D-E188E098C17E}"/>
              </a:ext>
            </a:extLst>
          </p:cNvPr>
          <p:cNvSpPr txBox="1"/>
          <p:nvPr/>
        </p:nvSpPr>
        <p:spPr>
          <a:xfrm>
            <a:off x="5857463" y="4223296"/>
            <a:ext cx="630429" cy="707886"/>
          </a:xfrm>
          <a:prstGeom prst="rect">
            <a:avLst/>
          </a:prstGeom>
        </p:spPr>
        <p:txBody>
          <a:bodyPr vert="horz" wrap="none" lIns="91440" tIns="45720" rIns="91440" bIns="45720" rtlCol="0">
            <a:spAutoFit/>
          </a:bodyPr>
          <a:lstStyle/>
          <a:p>
            <a:pPr algn="l">
              <a:spcBef>
                <a:spcPct val="20000"/>
              </a:spcBef>
              <a:buClr>
                <a:srgbClr val="6D6E71"/>
              </a:buClr>
            </a:pPr>
            <a:r>
              <a:rPr lang="en-US" sz="4000" b="1" dirty="0">
                <a:solidFill>
                  <a:schemeClr val="tx2"/>
                </a:solidFill>
              </a:rPr>
              <a:t>vs</a:t>
            </a:r>
          </a:p>
        </p:txBody>
      </p:sp>
      <p:grpSp>
        <p:nvGrpSpPr>
          <p:cNvPr id="22" name="Group 21">
            <a:extLst>
              <a:ext uri="{FF2B5EF4-FFF2-40B4-BE49-F238E27FC236}">
                <a16:creationId xmlns:a16="http://schemas.microsoft.com/office/drawing/2014/main" id="{093A2555-6814-4A24-8E01-2DF7DEC1BA7C}"/>
              </a:ext>
            </a:extLst>
          </p:cNvPr>
          <p:cNvGrpSpPr/>
          <p:nvPr/>
        </p:nvGrpSpPr>
        <p:grpSpPr>
          <a:xfrm>
            <a:off x="6886970" y="2180598"/>
            <a:ext cx="4538890" cy="1943650"/>
            <a:chOff x="6886970" y="2180598"/>
            <a:chExt cx="4538890" cy="1943650"/>
          </a:xfrm>
        </p:grpSpPr>
        <p:sp>
          <p:nvSpPr>
            <p:cNvPr id="15" name="TextBox 14">
              <a:extLst>
                <a:ext uri="{FF2B5EF4-FFF2-40B4-BE49-F238E27FC236}">
                  <a16:creationId xmlns:a16="http://schemas.microsoft.com/office/drawing/2014/main" id="{E6F83025-F1FE-4F71-8E6C-5B909B353A21}"/>
                </a:ext>
              </a:extLst>
            </p:cNvPr>
            <p:cNvSpPr txBox="1"/>
            <p:nvPr/>
          </p:nvSpPr>
          <p:spPr>
            <a:xfrm>
              <a:off x="6886970" y="2899489"/>
              <a:ext cx="4538890" cy="1224759"/>
            </a:xfrm>
            <a:prstGeom prst="rect">
              <a:avLst/>
            </a:prstGeom>
            <a:noFill/>
          </p:spPr>
          <p:txBody>
            <a:bodyPr wrap="square">
              <a:spAutoFit/>
            </a:bodyPr>
            <a:lstStyle/>
            <a:p>
              <a:pPr marR="0" lvl="0">
                <a:lnSpc>
                  <a:spcPct val="107000"/>
                </a:lnSpc>
                <a:spcBef>
                  <a:spcPts val="1800"/>
                </a:spcBef>
                <a:spcAft>
                  <a:spcPts val="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lt;0.35 dB per km at 1310 nm</a:t>
              </a:r>
            </a:p>
            <a:p>
              <a:pPr marR="0" lvl="0">
                <a:lnSpc>
                  <a:spcPct val="107000"/>
                </a:lnSpc>
                <a:spcBef>
                  <a:spcPts val="1800"/>
                </a:spcBef>
                <a:spcAft>
                  <a:spcPts val="80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lt;</a:t>
              </a:r>
              <a:r>
                <a:rPr lang="en-US" sz="2800" b="1"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rPr>
                <a:t>0.20 dB </a:t>
              </a:r>
              <a:r>
                <a:rPr lang="en-US" sz="2800" dirty="0">
                  <a:effectLst/>
                  <a:latin typeface="Calibri" panose="020F0502020204030204" pitchFamily="34" charset="0"/>
                  <a:ea typeface="Calibri" panose="020F0502020204030204" pitchFamily="34" charset="0"/>
                  <a:cs typeface="Times New Roman" panose="02020603050405020304" pitchFamily="18" charset="0"/>
                </a:rPr>
                <a:t>per km at 1550 nm</a:t>
              </a:r>
            </a:p>
          </p:txBody>
        </p:sp>
        <p:sp>
          <p:nvSpPr>
            <p:cNvPr id="16" name="TextBox 15">
              <a:extLst>
                <a:ext uri="{FF2B5EF4-FFF2-40B4-BE49-F238E27FC236}">
                  <a16:creationId xmlns:a16="http://schemas.microsoft.com/office/drawing/2014/main" id="{ABA0FEA7-C9F5-4DD0-A06C-E24477FC7D77}"/>
                </a:ext>
              </a:extLst>
            </p:cNvPr>
            <p:cNvSpPr txBox="1"/>
            <p:nvPr/>
          </p:nvSpPr>
          <p:spPr>
            <a:xfrm>
              <a:off x="7889336" y="2180598"/>
              <a:ext cx="2300630" cy="707886"/>
            </a:xfrm>
            <a:prstGeom prst="rect">
              <a:avLst/>
            </a:prstGeom>
          </p:spPr>
          <p:txBody>
            <a:bodyPr vert="horz" wrap="none" lIns="91440" tIns="45720" rIns="91440" bIns="45720" rtlCol="0">
              <a:spAutoFit/>
            </a:bodyPr>
            <a:lstStyle/>
            <a:p>
              <a:pPr algn="l">
                <a:spcBef>
                  <a:spcPct val="20000"/>
                </a:spcBef>
                <a:buClr>
                  <a:srgbClr val="6D6E71"/>
                </a:buClr>
              </a:pPr>
              <a:r>
                <a:rPr lang="en-US" sz="4000" b="1" u="sng" dirty="0">
                  <a:solidFill>
                    <a:schemeClr val="tx2"/>
                  </a:solidFill>
                </a:rPr>
                <a:t>SMF-28e+</a:t>
              </a:r>
            </a:p>
          </p:txBody>
        </p:sp>
      </p:grpSp>
      <p:grpSp>
        <p:nvGrpSpPr>
          <p:cNvPr id="23" name="Group 22">
            <a:extLst>
              <a:ext uri="{FF2B5EF4-FFF2-40B4-BE49-F238E27FC236}">
                <a16:creationId xmlns:a16="http://schemas.microsoft.com/office/drawing/2014/main" id="{376C157B-F48B-4F81-BDF3-F31B3C769139}"/>
              </a:ext>
            </a:extLst>
          </p:cNvPr>
          <p:cNvGrpSpPr/>
          <p:nvPr/>
        </p:nvGrpSpPr>
        <p:grpSpPr>
          <a:xfrm>
            <a:off x="6886970" y="4296969"/>
            <a:ext cx="4538890" cy="1943650"/>
            <a:chOff x="6886970" y="4296969"/>
            <a:chExt cx="4538890" cy="1943650"/>
          </a:xfrm>
        </p:grpSpPr>
        <p:sp>
          <p:nvSpPr>
            <p:cNvPr id="17" name="TextBox 16">
              <a:extLst>
                <a:ext uri="{FF2B5EF4-FFF2-40B4-BE49-F238E27FC236}">
                  <a16:creationId xmlns:a16="http://schemas.microsoft.com/office/drawing/2014/main" id="{6A44E189-52D3-4ECF-A4C6-FCFDE7F9385C}"/>
                </a:ext>
              </a:extLst>
            </p:cNvPr>
            <p:cNvSpPr txBox="1"/>
            <p:nvPr/>
          </p:nvSpPr>
          <p:spPr>
            <a:xfrm>
              <a:off x="6886970" y="5015860"/>
              <a:ext cx="4538890" cy="1224759"/>
            </a:xfrm>
            <a:prstGeom prst="rect">
              <a:avLst/>
            </a:prstGeom>
            <a:noFill/>
          </p:spPr>
          <p:txBody>
            <a:bodyPr wrap="square">
              <a:spAutoFit/>
            </a:bodyPr>
            <a:lstStyle/>
            <a:p>
              <a:pPr marR="0" lvl="0">
                <a:lnSpc>
                  <a:spcPct val="107000"/>
                </a:lnSpc>
                <a:spcBef>
                  <a:spcPts val="1800"/>
                </a:spcBef>
                <a:spcAft>
                  <a:spcPts val="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lt;0.31 dB per km at 1310 nm</a:t>
              </a:r>
            </a:p>
            <a:p>
              <a:pPr marR="0" lvl="0">
                <a:lnSpc>
                  <a:spcPct val="107000"/>
                </a:lnSpc>
                <a:spcBef>
                  <a:spcPts val="1800"/>
                </a:spcBef>
                <a:spcAft>
                  <a:spcPts val="800"/>
                </a:spcAft>
              </a:pPr>
              <a:r>
                <a:rPr lang="en-US" sz="2800" dirty="0">
                  <a:effectLst/>
                  <a:latin typeface="Calibri" panose="020F0502020204030204" pitchFamily="34" charset="0"/>
                  <a:ea typeface="Calibri" panose="020F0502020204030204" pitchFamily="34" charset="0"/>
                  <a:cs typeface="Times New Roman" panose="02020603050405020304" pitchFamily="18" charset="0"/>
                </a:rPr>
                <a:t>&lt;</a:t>
              </a:r>
              <a:r>
                <a:rPr lang="en-US" sz="2800" b="1" dirty="0">
                  <a:solidFill>
                    <a:schemeClr val="bg2"/>
                  </a:solidFill>
                  <a:effectLst/>
                  <a:latin typeface="Calibri" panose="020F0502020204030204" pitchFamily="34" charset="0"/>
                  <a:ea typeface="Calibri" panose="020F0502020204030204" pitchFamily="34" charset="0"/>
                  <a:cs typeface="Times New Roman" panose="02020603050405020304" pitchFamily="18" charset="0"/>
                </a:rPr>
                <a:t>0.17 dB</a:t>
              </a:r>
              <a:r>
                <a:rPr lang="en-US" sz="2800" dirty="0">
                  <a:effectLst/>
                  <a:latin typeface="Calibri" panose="020F0502020204030204" pitchFamily="34" charset="0"/>
                  <a:ea typeface="Calibri" panose="020F0502020204030204" pitchFamily="34" charset="0"/>
                  <a:cs typeface="Times New Roman" panose="02020603050405020304" pitchFamily="18" charset="0"/>
                </a:rPr>
                <a:t> per km at 1550 nm</a:t>
              </a:r>
            </a:p>
          </p:txBody>
        </p:sp>
        <p:sp>
          <p:nvSpPr>
            <p:cNvPr id="18" name="TextBox 17">
              <a:extLst>
                <a:ext uri="{FF2B5EF4-FFF2-40B4-BE49-F238E27FC236}">
                  <a16:creationId xmlns:a16="http://schemas.microsoft.com/office/drawing/2014/main" id="{DF29CEE0-A539-46DE-A04A-1C734DC7A0F4}"/>
                </a:ext>
              </a:extLst>
            </p:cNvPr>
            <p:cNvSpPr txBox="1"/>
            <p:nvPr/>
          </p:nvSpPr>
          <p:spPr>
            <a:xfrm>
              <a:off x="7889336" y="4296969"/>
              <a:ext cx="2670924" cy="707886"/>
            </a:xfrm>
            <a:prstGeom prst="rect">
              <a:avLst/>
            </a:prstGeom>
          </p:spPr>
          <p:txBody>
            <a:bodyPr vert="horz" wrap="none" lIns="91440" tIns="45720" rIns="91440" bIns="45720" rtlCol="0">
              <a:spAutoFit/>
            </a:bodyPr>
            <a:lstStyle/>
            <a:p>
              <a:pPr algn="l">
                <a:spcBef>
                  <a:spcPct val="20000"/>
                </a:spcBef>
                <a:buClr>
                  <a:srgbClr val="6D6E71"/>
                </a:buClr>
              </a:pPr>
              <a:r>
                <a:rPr lang="en-US" sz="4000" b="1" u="sng" dirty="0">
                  <a:solidFill>
                    <a:schemeClr val="tx2"/>
                  </a:solidFill>
                </a:rPr>
                <a:t>SMF-28 ULL</a:t>
              </a:r>
            </a:p>
          </p:txBody>
        </p:sp>
      </p:grpSp>
      <p:grpSp>
        <p:nvGrpSpPr>
          <p:cNvPr id="24" name="Group 23">
            <a:extLst>
              <a:ext uri="{FF2B5EF4-FFF2-40B4-BE49-F238E27FC236}">
                <a16:creationId xmlns:a16="http://schemas.microsoft.com/office/drawing/2014/main" id="{CC428609-B6B7-4249-8670-A398914880A4}"/>
              </a:ext>
            </a:extLst>
          </p:cNvPr>
          <p:cNvGrpSpPr/>
          <p:nvPr/>
        </p:nvGrpSpPr>
        <p:grpSpPr>
          <a:xfrm>
            <a:off x="503299" y="2659573"/>
            <a:ext cx="3569375" cy="1326019"/>
            <a:chOff x="503299" y="2659573"/>
            <a:chExt cx="3569375" cy="1326019"/>
          </a:xfrm>
        </p:grpSpPr>
        <p:sp>
          <p:nvSpPr>
            <p:cNvPr id="19" name="TextBox 18">
              <a:extLst>
                <a:ext uri="{FF2B5EF4-FFF2-40B4-BE49-F238E27FC236}">
                  <a16:creationId xmlns:a16="http://schemas.microsoft.com/office/drawing/2014/main" id="{E55E1609-98FA-4AF1-96B0-8AD721203ABE}"/>
                </a:ext>
              </a:extLst>
            </p:cNvPr>
            <p:cNvSpPr txBox="1"/>
            <p:nvPr/>
          </p:nvSpPr>
          <p:spPr>
            <a:xfrm>
              <a:off x="503299" y="2659573"/>
              <a:ext cx="3569375" cy="400110"/>
            </a:xfrm>
            <a:prstGeom prst="rect">
              <a:avLst/>
            </a:prstGeom>
          </p:spPr>
          <p:txBody>
            <a:bodyPr vert="horz" wrap="none" lIns="91440" tIns="45720" rIns="91440" bIns="45720" rtlCol="0">
              <a:spAutoFit/>
            </a:bodyPr>
            <a:lstStyle/>
            <a:p>
              <a:pPr algn="l">
                <a:spcBef>
                  <a:spcPct val="20000"/>
                </a:spcBef>
                <a:buClr>
                  <a:srgbClr val="6D6E71"/>
                </a:buClr>
              </a:pPr>
              <a:r>
                <a:rPr lang="en-US" sz="2000" b="1" i="1" dirty="0">
                  <a:solidFill>
                    <a:srgbClr val="00B050"/>
                  </a:solidFill>
                </a:rPr>
                <a:t>More spectrum = more capacity</a:t>
              </a:r>
            </a:p>
          </p:txBody>
        </p:sp>
        <p:sp>
          <p:nvSpPr>
            <p:cNvPr id="20" name="Freeform: Shape 19">
              <a:extLst>
                <a:ext uri="{FF2B5EF4-FFF2-40B4-BE49-F238E27FC236}">
                  <a16:creationId xmlns:a16="http://schemas.microsoft.com/office/drawing/2014/main" id="{737D4483-A701-46D4-A924-44DFA6CCB43D}"/>
                </a:ext>
              </a:extLst>
            </p:cNvPr>
            <p:cNvSpPr/>
            <p:nvPr/>
          </p:nvSpPr>
          <p:spPr>
            <a:xfrm>
              <a:off x="1251768" y="3081131"/>
              <a:ext cx="139710" cy="904461"/>
            </a:xfrm>
            <a:custGeom>
              <a:avLst/>
              <a:gdLst>
                <a:gd name="connsiteX0" fmla="*/ 139710 w 139710"/>
                <a:gd name="connsiteY0" fmla="*/ 0 h 904461"/>
                <a:gd name="connsiteX1" fmla="*/ 562 w 139710"/>
                <a:gd name="connsiteY1" fmla="*/ 467139 h 904461"/>
                <a:gd name="connsiteX2" fmla="*/ 99954 w 139710"/>
                <a:gd name="connsiteY2" fmla="*/ 904461 h 904461"/>
              </a:gdLst>
              <a:ahLst/>
              <a:cxnLst>
                <a:cxn ang="0">
                  <a:pos x="connsiteX0" y="connsiteY0"/>
                </a:cxn>
                <a:cxn ang="0">
                  <a:pos x="connsiteX1" y="connsiteY1"/>
                </a:cxn>
                <a:cxn ang="0">
                  <a:pos x="connsiteX2" y="connsiteY2"/>
                </a:cxn>
              </a:cxnLst>
              <a:rect l="l" t="t" r="r" b="b"/>
              <a:pathLst>
                <a:path w="139710" h="904461">
                  <a:moveTo>
                    <a:pt x="139710" y="0"/>
                  </a:moveTo>
                  <a:cubicBezTo>
                    <a:pt x="73449" y="158198"/>
                    <a:pt x="7188" y="316396"/>
                    <a:pt x="562" y="467139"/>
                  </a:cubicBezTo>
                  <a:cubicBezTo>
                    <a:pt x="-6064" y="617883"/>
                    <a:pt x="46945" y="761172"/>
                    <a:pt x="99954" y="904461"/>
                  </a:cubicBezTo>
                </a:path>
              </a:pathLst>
            </a:custGeom>
            <a:noFill/>
            <a:ln w="38100">
              <a:solidFill>
                <a:srgbClr val="00B050"/>
              </a:solidFill>
              <a:headEnd type="none" w="med" len="med"/>
              <a:tailEnd type="arrow"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3708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p:cTn id="12" dur="500" fill="hold"/>
                                        <p:tgtEl>
                                          <p:spTgt spid="13"/>
                                        </p:tgtEl>
                                        <p:attrNameLst>
                                          <p:attrName>ppt_w</p:attrName>
                                        </p:attrNameLst>
                                      </p:cBhvr>
                                      <p:tavLst>
                                        <p:tav tm="0">
                                          <p:val>
                                            <p:fltVal val="0"/>
                                          </p:val>
                                        </p:tav>
                                        <p:tav tm="100000">
                                          <p:val>
                                            <p:strVal val="#ppt_w"/>
                                          </p:val>
                                        </p:tav>
                                      </p:tavLst>
                                    </p:anim>
                                    <p:anim calcmode="lin" valueType="num">
                                      <p:cBhvr>
                                        <p:cTn id="13" dur="500" fill="hold"/>
                                        <p:tgtEl>
                                          <p:spTgt spid="13"/>
                                        </p:tgtEl>
                                        <p:attrNameLst>
                                          <p:attrName>ppt_h</p:attrName>
                                        </p:attrNameLst>
                                      </p:cBhvr>
                                      <p:tavLst>
                                        <p:tav tm="0">
                                          <p:val>
                                            <p:fltVal val="0"/>
                                          </p:val>
                                        </p:tav>
                                        <p:tav tm="100000">
                                          <p:val>
                                            <p:strVal val="#ppt_h"/>
                                          </p:val>
                                        </p:tav>
                                      </p:tavLst>
                                    </p:anim>
                                    <p:animEffect transition="in" filter="fade">
                                      <p:cBhvr>
                                        <p:cTn id="14" dur="500"/>
                                        <p:tgtEl>
                                          <p:spTgt spid="13"/>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wipe(down)">
                                      <p:cBhvr>
                                        <p:cTn id="2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BAD8587-5CFC-4F6E-B586-1F2224228A82}"/>
              </a:ext>
            </a:extLst>
          </p:cNvPr>
          <p:cNvSpPr>
            <a:spLocks noGrp="1"/>
          </p:cNvSpPr>
          <p:nvPr>
            <p:ph type="body" sz="quarter" idx="11"/>
          </p:nvPr>
        </p:nvSpPr>
        <p:spPr>
          <a:xfrm>
            <a:off x="1797972" y="2122515"/>
            <a:ext cx="8548101" cy="2644697"/>
          </a:xfrm>
        </p:spPr>
        <p:txBody>
          <a:bodyPr>
            <a:normAutofit/>
          </a:bodyPr>
          <a:lstStyle/>
          <a:p>
            <a:pPr algn="ctr"/>
            <a:r>
              <a:rPr lang="en-US" dirty="0"/>
              <a:t>So what are people using this for?</a:t>
            </a:r>
          </a:p>
        </p:txBody>
      </p:sp>
    </p:spTree>
    <p:extLst>
      <p:ext uri="{BB962C8B-B14F-4D97-AF65-F5344CB8AC3E}">
        <p14:creationId xmlns:p14="http://schemas.microsoft.com/office/powerpoint/2010/main" val="186937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268626-EA3B-405C-8C4B-E4A1A196680E}"/>
              </a:ext>
            </a:extLst>
          </p:cNvPr>
          <p:cNvSpPr>
            <a:spLocks noGrp="1"/>
          </p:cNvSpPr>
          <p:nvPr>
            <p:ph type="title"/>
          </p:nvPr>
        </p:nvSpPr>
        <p:spPr>
          <a:xfrm>
            <a:off x="523702" y="9099"/>
            <a:ext cx="10478915" cy="809287"/>
          </a:xfrm>
        </p:spPr>
        <p:txBody>
          <a:bodyPr/>
          <a:lstStyle/>
          <a:p>
            <a:r>
              <a:rPr lang="en-US" dirty="0"/>
              <a:t>Today it’s all about lower latency</a:t>
            </a:r>
          </a:p>
        </p:txBody>
      </p:sp>
      <p:grpSp>
        <p:nvGrpSpPr>
          <p:cNvPr id="9" name="Group 8">
            <a:extLst>
              <a:ext uri="{FF2B5EF4-FFF2-40B4-BE49-F238E27FC236}">
                <a16:creationId xmlns:a16="http://schemas.microsoft.com/office/drawing/2014/main" id="{1C05104D-6D5C-8034-B0C8-5A88AF90557B}"/>
              </a:ext>
            </a:extLst>
          </p:cNvPr>
          <p:cNvGrpSpPr/>
          <p:nvPr/>
        </p:nvGrpSpPr>
        <p:grpSpPr>
          <a:xfrm>
            <a:off x="808314" y="1377181"/>
            <a:ext cx="3715061" cy="2333935"/>
            <a:chOff x="808314" y="1061297"/>
            <a:chExt cx="3715061" cy="2333935"/>
          </a:xfrm>
        </p:grpSpPr>
        <p:grpSp>
          <p:nvGrpSpPr>
            <p:cNvPr id="4" name="Group 3">
              <a:extLst>
                <a:ext uri="{FF2B5EF4-FFF2-40B4-BE49-F238E27FC236}">
                  <a16:creationId xmlns:a16="http://schemas.microsoft.com/office/drawing/2014/main" id="{EA195747-982C-BB41-724D-704F0A072988}"/>
                </a:ext>
              </a:extLst>
            </p:cNvPr>
            <p:cNvGrpSpPr/>
            <p:nvPr/>
          </p:nvGrpSpPr>
          <p:grpSpPr>
            <a:xfrm>
              <a:off x="808314" y="1623978"/>
              <a:ext cx="3715061" cy="1771254"/>
              <a:chOff x="808314" y="1283156"/>
              <a:chExt cx="3715061" cy="1771254"/>
            </a:xfrm>
          </p:grpSpPr>
          <p:pic>
            <p:nvPicPr>
              <p:cNvPr id="6" name="Picture 5">
                <a:extLst>
                  <a:ext uri="{FF2B5EF4-FFF2-40B4-BE49-F238E27FC236}">
                    <a16:creationId xmlns:a16="http://schemas.microsoft.com/office/drawing/2014/main" id="{4C9B1B61-BF82-4B97-BB03-F13FE48C59DB}"/>
                  </a:ext>
                </a:extLst>
              </p:cNvPr>
              <p:cNvPicPr>
                <a:picLocks noChangeAspect="1"/>
              </p:cNvPicPr>
              <p:nvPr/>
            </p:nvPicPr>
            <p:blipFill>
              <a:blip r:embed="rId2"/>
              <a:stretch>
                <a:fillRect/>
              </a:stretch>
            </p:blipFill>
            <p:spPr>
              <a:xfrm>
                <a:off x="1728710" y="2705387"/>
                <a:ext cx="1371599" cy="349023"/>
              </a:xfrm>
              <a:prstGeom prst="rect">
                <a:avLst/>
              </a:prstGeom>
            </p:spPr>
          </p:pic>
          <p:grpSp>
            <p:nvGrpSpPr>
              <p:cNvPr id="2" name="Group 1">
                <a:extLst>
                  <a:ext uri="{FF2B5EF4-FFF2-40B4-BE49-F238E27FC236}">
                    <a16:creationId xmlns:a16="http://schemas.microsoft.com/office/drawing/2014/main" id="{1FD452F8-406C-AB02-74C5-2BA20B8B3D30}"/>
                  </a:ext>
                </a:extLst>
              </p:cNvPr>
              <p:cNvGrpSpPr/>
              <p:nvPr/>
            </p:nvGrpSpPr>
            <p:grpSpPr>
              <a:xfrm>
                <a:off x="964277" y="2101060"/>
                <a:ext cx="2911652" cy="459399"/>
                <a:chOff x="3110008" y="2635950"/>
                <a:chExt cx="5470924" cy="863199"/>
              </a:xfrm>
            </p:grpSpPr>
            <p:pic>
              <p:nvPicPr>
                <p:cNvPr id="7" name="Graphic 52">
                  <a:extLst>
                    <a:ext uri="{FF2B5EF4-FFF2-40B4-BE49-F238E27FC236}">
                      <a16:creationId xmlns:a16="http://schemas.microsoft.com/office/drawing/2014/main" id="{C9020EB3-639E-49D0-8AEE-CABB2E4A9E0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110008" y="2635950"/>
                  <a:ext cx="862484" cy="862484"/>
                </a:xfrm>
                <a:prstGeom prst="rect">
                  <a:avLst/>
                </a:prstGeom>
              </p:spPr>
            </p:pic>
            <p:pic>
              <p:nvPicPr>
                <p:cNvPr id="8" name="Graphic 8">
                  <a:extLst>
                    <a:ext uri="{FF2B5EF4-FFF2-40B4-BE49-F238E27FC236}">
                      <a16:creationId xmlns:a16="http://schemas.microsoft.com/office/drawing/2014/main" id="{DAC870BD-9A5F-437E-8FD6-DF2D0187582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717733" y="2635950"/>
                  <a:ext cx="863199" cy="863199"/>
                </a:xfrm>
                <a:prstGeom prst="rect">
                  <a:avLst/>
                </a:prstGeom>
              </p:spPr>
            </p:pic>
            <p:cxnSp>
              <p:nvCxnSpPr>
                <p:cNvPr id="10" name="Straight Connector 9">
                  <a:extLst>
                    <a:ext uri="{FF2B5EF4-FFF2-40B4-BE49-F238E27FC236}">
                      <a16:creationId xmlns:a16="http://schemas.microsoft.com/office/drawing/2014/main" id="{8671C2CA-9C2A-4908-93A2-C5DE0A581502}"/>
                    </a:ext>
                  </a:extLst>
                </p:cNvPr>
                <p:cNvCxnSpPr/>
                <p:nvPr/>
              </p:nvCxnSpPr>
              <p:spPr>
                <a:xfrm>
                  <a:off x="4075042" y="3180522"/>
                  <a:ext cx="3458817"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grpSp>
          <p:pic>
            <p:nvPicPr>
              <p:cNvPr id="4098" name="Picture 2" descr="Logo-Interxion - Dutch Data Center Association">
                <a:extLst>
                  <a:ext uri="{FF2B5EF4-FFF2-40B4-BE49-F238E27FC236}">
                    <a16:creationId xmlns:a16="http://schemas.microsoft.com/office/drawing/2014/main" id="{3C183E86-C1EF-400D-924A-30A10A4C03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28483" y="1283156"/>
                <a:ext cx="1294892" cy="64744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85E12886-78C4-41DE-BC7E-260FCA81AE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8314" y="1315596"/>
                <a:ext cx="1840792" cy="466334"/>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7599BD85-85D0-1DA3-7F4A-C6CC7C99BF58}"/>
                </a:ext>
              </a:extLst>
            </p:cNvPr>
            <p:cNvSpPr txBox="1"/>
            <p:nvPr/>
          </p:nvSpPr>
          <p:spPr>
            <a:xfrm>
              <a:off x="844653" y="1061297"/>
              <a:ext cx="3420552" cy="400110"/>
            </a:xfrm>
            <a:prstGeom prst="rect">
              <a:avLst/>
            </a:prstGeom>
          </p:spPr>
          <p:txBody>
            <a:bodyPr vert="horz" wrap="none" lIns="91440" tIns="45720" rIns="91440" bIns="45720" rtlCol="0">
              <a:spAutoFit/>
            </a:bodyPr>
            <a:lstStyle/>
            <a:p>
              <a:pPr algn="l">
                <a:spcBef>
                  <a:spcPct val="20000"/>
                </a:spcBef>
                <a:buClr>
                  <a:srgbClr val="6D6E71"/>
                </a:buClr>
              </a:pPr>
              <a:r>
                <a:rPr lang="en-US" sz="2000" b="1" u="sng" dirty="0">
                  <a:solidFill>
                    <a:schemeClr val="accent6"/>
                  </a:solidFill>
                </a:rPr>
                <a:t>Low Latency Financial Services</a:t>
              </a:r>
            </a:p>
          </p:txBody>
        </p:sp>
      </p:grpSp>
      <p:grpSp>
        <p:nvGrpSpPr>
          <p:cNvPr id="11" name="Group 10">
            <a:extLst>
              <a:ext uri="{FF2B5EF4-FFF2-40B4-BE49-F238E27FC236}">
                <a16:creationId xmlns:a16="http://schemas.microsoft.com/office/drawing/2014/main" id="{489AAE05-63C8-AB35-562D-94B0A3077BAA}"/>
              </a:ext>
            </a:extLst>
          </p:cNvPr>
          <p:cNvGrpSpPr/>
          <p:nvPr/>
        </p:nvGrpSpPr>
        <p:grpSpPr>
          <a:xfrm>
            <a:off x="5913121" y="1332501"/>
            <a:ext cx="5470565" cy="1809074"/>
            <a:chOff x="5220964" y="1187636"/>
            <a:chExt cx="5470565" cy="1809074"/>
          </a:xfrm>
        </p:grpSpPr>
        <p:pic>
          <p:nvPicPr>
            <p:cNvPr id="13" name="Picture 2" descr="Comcast adopts NBC peacock as part of new logo - The Verge">
              <a:extLst>
                <a:ext uri="{FF2B5EF4-FFF2-40B4-BE49-F238E27FC236}">
                  <a16:creationId xmlns:a16="http://schemas.microsoft.com/office/drawing/2014/main" id="{AC751AF4-CF2F-D8C2-E958-216DE82739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0" y="1379912"/>
              <a:ext cx="1328552" cy="74398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Map of Philadelphia, Pennsylvania - GIS Geography">
              <a:extLst>
                <a:ext uri="{FF2B5EF4-FFF2-40B4-BE49-F238E27FC236}">
                  <a16:creationId xmlns:a16="http://schemas.microsoft.com/office/drawing/2014/main" id="{C1EBB4ED-1488-1A7D-2368-C41B3BDD99F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42183" y="1187636"/>
              <a:ext cx="2849346" cy="169688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0E32CE84-B574-119C-407D-D658475F2214}"/>
                </a:ext>
              </a:extLst>
            </p:cNvPr>
            <p:cNvSpPr txBox="1"/>
            <p:nvPr/>
          </p:nvSpPr>
          <p:spPr>
            <a:xfrm>
              <a:off x="5220964" y="2227269"/>
              <a:ext cx="2438340" cy="769441"/>
            </a:xfrm>
            <a:prstGeom prst="rect">
              <a:avLst/>
            </a:prstGeom>
          </p:spPr>
          <p:txBody>
            <a:bodyPr vert="horz" wrap="square" lIns="91440" tIns="45720" rIns="91440" bIns="45720" rtlCol="0">
              <a:spAutoFit/>
            </a:bodyPr>
            <a:lstStyle/>
            <a:p>
              <a:pPr algn="ctr">
                <a:spcBef>
                  <a:spcPct val="20000"/>
                </a:spcBef>
                <a:buClr>
                  <a:srgbClr val="6D6E71"/>
                </a:buClr>
              </a:pPr>
              <a:r>
                <a:rPr lang="en-US" sz="2000" b="1" u="sng" dirty="0">
                  <a:solidFill>
                    <a:schemeClr val="accent6"/>
                  </a:solidFill>
                </a:rPr>
                <a:t>Distributed DC</a:t>
              </a:r>
            </a:p>
            <a:p>
              <a:pPr algn="ctr">
                <a:spcBef>
                  <a:spcPct val="20000"/>
                </a:spcBef>
                <a:buClr>
                  <a:srgbClr val="6D6E71"/>
                </a:buClr>
              </a:pPr>
              <a:r>
                <a:rPr lang="en-US" sz="2000" b="1" u="sng" dirty="0">
                  <a:solidFill>
                    <a:schemeClr val="accent6"/>
                  </a:solidFill>
                </a:rPr>
                <a:t>Server Performance</a:t>
              </a:r>
            </a:p>
          </p:txBody>
        </p:sp>
      </p:grpSp>
      <p:grpSp>
        <p:nvGrpSpPr>
          <p:cNvPr id="21" name="Group 20">
            <a:extLst>
              <a:ext uri="{FF2B5EF4-FFF2-40B4-BE49-F238E27FC236}">
                <a16:creationId xmlns:a16="http://schemas.microsoft.com/office/drawing/2014/main" id="{448DA7D8-5106-38F2-0DC2-61AA8AB75E53}"/>
              </a:ext>
            </a:extLst>
          </p:cNvPr>
          <p:cNvGrpSpPr/>
          <p:nvPr/>
        </p:nvGrpSpPr>
        <p:grpSpPr>
          <a:xfrm>
            <a:off x="2806930" y="3708784"/>
            <a:ext cx="6628025" cy="2669714"/>
            <a:chOff x="2806930" y="3708784"/>
            <a:chExt cx="6628025" cy="2669714"/>
          </a:xfrm>
        </p:grpSpPr>
        <p:pic>
          <p:nvPicPr>
            <p:cNvPr id="16" name="Picture 15">
              <a:extLst>
                <a:ext uri="{FF2B5EF4-FFF2-40B4-BE49-F238E27FC236}">
                  <a16:creationId xmlns:a16="http://schemas.microsoft.com/office/drawing/2014/main" id="{07DCA8A0-6EB2-D3D5-01F5-1851D42178A2}"/>
                </a:ext>
              </a:extLst>
            </p:cNvPr>
            <p:cNvPicPr>
              <a:picLocks noChangeAspect="1"/>
            </p:cNvPicPr>
            <p:nvPr/>
          </p:nvPicPr>
          <p:blipFill>
            <a:blip r:embed="rId9"/>
            <a:stretch>
              <a:fillRect/>
            </a:stretch>
          </p:blipFill>
          <p:spPr>
            <a:xfrm>
              <a:off x="2806930" y="4540072"/>
              <a:ext cx="1219200" cy="1181100"/>
            </a:xfrm>
            <a:prstGeom prst="rect">
              <a:avLst/>
            </a:prstGeom>
          </p:spPr>
        </p:pic>
        <p:grpSp>
          <p:nvGrpSpPr>
            <p:cNvPr id="17" name="Group 16">
              <a:extLst>
                <a:ext uri="{FF2B5EF4-FFF2-40B4-BE49-F238E27FC236}">
                  <a16:creationId xmlns:a16="http://schemas.microsoft.com/office/drawing/2014/main" id="{A64F5682-8246-FB0C-5B26-DD6C05BB5A25}"/>
                </a:ext>
              </a:extLst>
            </p:cNvPr>
            <p:cNvGrpSpPr/>
            <p:nvPr/>
          </p:nvGrpSpPr>
          <p:grpSpPr>
            <a:xfrm>
              <a:off x="4064923" y="3708784"/>
              <a:ext cx="2662075" cy="2669714"/>
              <a:chOff x="7246257" y="1037123"/>
              <a:chExt cx="4162621" cy="3797163"/>
            </a:xfrm>
          </p:grpSpPr>
          <p:pic>
            <p:nvPicPr>
              <p:cNvPr id="18" name="Picture 17">
                <a:extLst>
                  <a:ext uri="{FF2B5EF4-FFF2-40B4-BE49-F238E27FC236}">
                    <a16:creationId xmlns:a16="http://schemas.microsoft.com/office/drawing/2014/main" id="{8B966438-0291-860F-0E79-6CB3F0EF41DE}"/>
                  </a:ext>
                </a:extLst>
              </p:cNvPr>
              <p:cNvPicPr>
                <a:picLocks noChangeAspect="1"/>
              </p:cNvPicPr>
              <p:nvPr/>
            </p:nvPicPr>
            <p:blipFill>
              <a:blip r:embed="rId10"/>
              <a:stretch>
                <a:fillRect/>
              </a:stretch>
            </p:blipFill>
            <p:spPr>
              <a:xfrm>
                <a:off x="7265503" y="1037123"/>
                <a:ext cx="4143375" cy="3797163"/>
              </a:xfrm>
              <a:prstGeom prst="rect">
                <a:avLst/>
              </a:prstGeom>
            </p:spPr>
          </p:pic>
          <p:sp>
            <p:nvSpPr>
              <p:cNvPr id="19" name="Rectangle 18">
                <a:extLst>
                  <a:ext uri="{FF2B5EF4-FFF2-40B4-BE49-F238E27FC236}">
                    <a16:creationId xmlns:a16="http://schemas.microsoft.com/office/drawing/2014/main" id="{2F1ADDD1-0101-9A19-66BB-3C9D0644D50B}"/>
                  </a:ext>
                </a:extLst>
              </p:cNvPr>
              <p:cNvSpPr/>
              <p:nvPr/>
            </p:nvSpPr>
            <p:spPr>
              <a:xfrm>
                <a:off x="7246257" y="1037123"/>
                <a:ext cx="719014" cy="483564"/>
              </a:xfrm>
              <a:prstGeom prst="rect">
                <a:avLst/>
              </a:prstGeom>
              <a:solidFill>
                <a:schemeClr val="bg1"/>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sp>
          <p:nvSpPr>
            <p:cNvPr id="20" name="TextBox 19">
              <a:extLst>
                <a:ext uri="{FF2B5EF4-FFF2-40B4-BE49-F238E27FC236}">
                  <a16:creationId xmlns:a16="http://schemas.microsoft.com/office/drawing/2014/main" id="{443DDEAE-8ED7-977A-CC28-8AB3CB005976}"/>
                </a:ext>
              </a:extLst>
            </p:cNvPr>
            <p:cNvSpPr txBox="1"/>
            <p:nvPr/>
          </p:nvSpPr>
          <p:spPr>
            <a:xfrm>
              <a:off x="6785189" y="4705917"/>
              <a:ext cx="2649766" cy="707886"/>
            </a:xfrm>
            <a:prstGeom prst="rect">
              <a:avLst/>
            </a:prstGeom>
          </p:spPr>
          <p:txBody>
            <a:bodyPr vert="horz" wrap="square" lIns="91440" tIns="45720" rIns="91440" bIns="45720" rtlCol="0">
              <a:spAutoFit/>
            </a:bodyPr>
            <a:lstStyle/>
            <a:p>
              <a:pPr algn="ctr">
                <a:spcBef>
                  <a:spcPct val="20000"/>
                </a:spcBef>
                <a:buClr>
                  <a:srgbClr val="6D6E71"/>
                </a:buClr>
              </a:pPr>
              <a:r>
                <a:rPr lang="en-US" sz="2000" b="1" u="sng" dirty="0">
                  <a:solidFill>
                    <a:schemeClr val="accent6"/>
                  </a:solidFill>
                </a:rPr>
                <a:t>5G Fronthaul Network Enhancement</a:t>
              </a:r>
            </a:p>
          </p:txBody>
        </p:sp>
      </p:grpSp>
    </p:spTree>
    <p:extLst>
      <p:ext uri="{BB962C8B-B14F-4D97-AF65-F5344CB8AC3E}">
        <p14:creationId xmlns:p14="http://schemas.microsoft.com/office/powerpoint/2010/main" val="46466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GEMFM – Global Network">
            <a:extLst>
              <a:ext uri="{FF2B5EF4-FFF2-40B4-BE49-F238E27FC236}">
                <a16:creationId xmlns:a16="http://schemas.microsoft.com/office/drawing/2014/main" id="{018AF186-DD68-45C0-88E8-D9DAF5C7AD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67A16E18-03C3-499E-9B85-79E521B10227}"/>
              </a:ext>
            </a:extLst>
          </p:cNvPr>
          <p:cNvSpPr/>
          <p:nvPr/>
        </p:nvSpPr>
        <p:spPr>
          <a:xfrm>
            <a:off x="7262943" y="809897"/>
            <a:ext cx="3635831" cy="1262747"/>
          </a:xfrm>
          <a:prstGeom prst="roundRect">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solidFill>
                  <a:schemeClr val="accent3"/>
                </a:solidFill>
              </a:rPr>
              <a:t>&gt;400 Million km </a:t>
            </a:r>
            <a:r>
              <a:rPr lang="en-US" sz="2400" dirty="0">
                <a:solidFill>
                  <a:schemeClr val="bg1"/>
                </a:solidFill>
              </a:rPr>
              <a:t>produced annually</a:t>
            </a:r>
            <a:endParaRPr lang="en-US" sz="3200" dirty="0">
              <a:solidFill>
                <a:schemeClr val="bg1"/>
              </a:solidFill>
            </a:endParaRPr>
          </a:p>
        </p:txBody>
      </p:sp>
      <p:sp>
        <p:nvSpPr>
          <p:cNvPr id="7" name="Rectangle: Rounded Corners 6">
            <a:extLst>
              <a:ext uri="{FF2B5EF4-FFF2-40B4-BE49-F238E27FC236}">
                <a16:creationId xmlns:a16="http://schemas.microsoft.com/office/drawing/2014/main" id="{A59C469F-4495-4316-91AA-A472F15B101C}"/>
              </a:ext>
            </a:extLst>
          </p:cNvPr>
          <p:cNvSpPr/>
          <p:nvPr/>
        </p:nvSpPr>
        <p:spPr>
          <a:xfrm>
            <a:off x="1772190" y="809897"/>
            <a:ext cx="3635831" cy="1262747"/>
          </a:xfrm>
          <a:prstGeom prst="roundRect">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solidFill>
                  <a:schemeClr val="accent3"/>
                </a:solidFill>
              </a:rPr>
              <a:t>&gt;5 Billion km </a:t>
            </a:r>
          </a:p>
          <a:p>
            <a:pPr algn="ctr"/>
            <a:r>
              <a:rPr lang="en-US" sz="2400" dirty="0">
                <a:solidFill>
                  <a:schemeClr val="bg1"/>
                </a:solidFill>
              </a:rPr>
              <a:t>fiber deployed worldwide</a:t>
            </a:r>
          </a:p>
        </p:txBody>
      </p:sp>
      <p:grpSp>
        <p:nvGrpSpPr>
          <p:cNvPr id="16" name="Group 15">
            <a:extLst>
              <a:ext uri="{FF2B5EF4-FFF2-40B4-BE49-F238E27FC236}">
                <a16:creationId xmlns:a16="http://schemas.microsoft.com/office/drawing/2014/main" id="{F8F905CD-06F6-4437-9414-CB86120B7309}"/>
              </a:ext>
            </a:extLst>
          </p:cNvPr>
          <p:cNvGrpSpPr/>
          <p:nvPr/>
        </p:nvGrpSpPr>
        <p:grpSpPr>
          <a:xfrm>
            <a:off x="814246" y="2440580"/>
            <a:ext cx="5351421" cy="3698963"/>
            <a:chOff x="814246" y="2440580"/>
            <a:chExt cx="5351421" cy="3698963"/>
          </a:xfrm>
        </p:grpSpPr>
        <p:sp>
          <p:nvSpPr>
            <p:cNvPr id="6" name="Rectangle: Rounded Corners 5">
              <a:extLst>
                <a:ext uri="{FF2B5EF4-FFF2-40B4-BE49-F238E27FC236}">
                  <a16:creationId xmlns:a16="http://schemas.microsoft.com/office/drawing/2014/main" id="{FE3798F4-41AA-4719-B3BC-9BAAD9CC7EEE}"/>
                </a:ext>
              </a:extLst>
            </p:cNvPr>
            <p:cNvSpPr/>
            <p:nvPr/>
          </p:nvSpPr>
          <p:spPr>
            <a:xfrm>
              <a:off x="814246" y="2673531"/>
              <a:ext cx="5351421" cy="3466012"/>
            </a:xfrm>
            <a:prstGeom prst="roundRect">
              <a:avLst>
                <a:gd name="adj" fmla="val 4607"/>
              </a:avLst>
            </a:prstGeom>
            <a:noFill/>
            <a:ln w="285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0" name="Rectangle: Rounded Corners 9">
              <a:extLst>
                <a:ext uri="{FF2B5EF4-FFF2-40B4-BE49-F238E27FC236}">
                  <a16:creationId xmlns:a16="http://schemas.microsoft.com/office/drawing/2014/main" id="{33C21B70-3552-448D-A655-408DAF56A42E}"/>
                </a:ext>
              </a:extLst>
            </p:cNvPr>
            <p:cNvSpPr/>
            <p:nvPr/>
          </p:nvSpPr>
          <p:spPr>
            <a:xfrm>
              <a:off x="1068972" y="2440580"/>
              <a:ext cx="3126377" cy="492043"/>
            </a:xfrm>
            <a:prstGeom prst="roundRect">
              <a:avLst>
                <a:gd name="adj" fmla="val 50000"/>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dirty="0">
                  <a:solidFill>
                    <a:schemeClr val="bg1"/>
                  </a:solidFill>
                </a:rPr>
                <a:t>Four Decades of Progress</a:t>
              </a:r>
            </a:p>
          </p:txBody>
        </p:sp>
      </p:grpSp>
      <p:grpSp>
        <p:nvGrpSpPr>
          <p:cNvPr id="36" name="Group 35">
            <a:extLst>
              <a:ext uri="{FF2B5EF4-FFF2-40B4-BE49-F238E27FC236}">
                <a16:creationId xmlns:a16="http://schemas.microsoft.com/office/drawing/2014/main" id="{5F318B94-E2F0-45E2-849A-D57A1A706447}"/>
              </a:ext>
            </a:extLst>
          </p:cNvPr>
          <p:cNvGrpSpPr/>
          <p:nvPr/>
        </p:nvGrpSpPr>
        <p:grpSpPr>
          <a:xfrm>
            <a:off x="1068972" y="3169922"/>
            <a:ext cx="4957359" cy="1262747"/>
            <a:chOff x="1068972" y="3169922"/>
            <a:chExt cx="4957359" cy="1262747"/>
          </a:xfrm>
        </p:grpSpPr>
        <p:sp>
          <p:nvSpPr>
            <p:cNvPr id="8" name="Rectangle: Rounded Corners 7">
              <a:extLst>
                <a:ext uri="{FF2B5EF4-FFF2-40B4-BE49-F238E27FC236}">
                  <a16:creationId xmlns:a16="http://schemas.microsoft.com/office/drawing/2014/main" id="{4B305E20-551E-4AEB-846F-C27DAF67A497}"/>
                </a:ext>
              </a:extLst>
            </p:cNvPr>
            <p:cNvSpPr/>
            <p:nvPr/>
          </p:nvSpPr>
          <p:spPr>
            <a:xfrm>
              <a:off x="1068972" y="3169922"/>
              <a:ext cx="2632169" cy="1262747"/>
            </a:xfrm>
            <a:prstGeom prst="roundRect">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dirty="0">
                  <a:solidFill>
                    <a:schemeClr val="bg1"/>
                  </a:solidFill>
                </a:rPr>
                <a:t>1 Mb/s </a:t>
              </a:r>
              <a:r>
                <a:rPr lang="en-US" sz="2400" dirty="0">
                  <a:solidFill>
                    <a:schemeClr val="bg1"/>
                  </a:solidFill>
                  <a:sym typeface="Wingdings" panose="05000000000000000000" pitchFamily="2" charset="2"/>
                </a:rPr>
                <a:t> 800 Gb/s per transponder</a:t>
              </a:r>
              <a:endParaRPr lang="en-US" sz="2400" dirty="0">
                <a:solidFill>
                  <a:schemeClr val="bg1"/>
                </a:solidFill>
              </a:endParaRPr>
            </a:p>
          </p:txBody>
        </p:sp>
        <p:sp>
          <p:nvSpPr>
            <p:cNvPr id="12" name="Rectangle: Rounded Corners 11">
              <a:extLst>
                <a:ext uri="{FF2B5EF4-FFF2-40B4-BE49-F238E27FC236}">
                  <a16:creationId xmlns:a16="http://schemas.microsoft.com/office/drawing/2014/main" id="{07764AB5-B635-4686-929E-7669C64242FA}"/>
                </a:ext>
              </a:extLst>
            </p:cNvPr>
            <p:cNvSpPr/>
            <p:nvPr/>
          </p:nvSpPr>
          <p:spPr>
            <a:xfrm>
              <a:off x="3788225" y="3169922"/>
              <a:ext cx="2238106" cy="1262747"/>
            </a:xfrm>
            <a:prstGeom prst="roundRect">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b="1" i="1" dirty="0">
                  <a:solidFill>
                    <a:schemeClr val="accent3"/>
                  </a:solidFill>
                </a:rPr>
                <a:t>800,000</a:t>
              </a:r>
              <a:r>
                <a:rPr lang="en-US" sz="3200" dirty="0">
                  <a:solidFill>
                    <a:schemeClr val="accent3"/>
                  </a:solidFill>
                </a:rPr>
                <a:t> </a:t>
              </a:r>
            </a:p>
            <a:p>
              <a:pPr algn="ctr"/>
              <a:r>
                <a:rPr lang="en-US" sz="2400" dirty="0">
                  <a:solidFill>
                    <a:schemeClr val="bg1"/>
                  </a:solidFill>
                </a:rPr>
                <a:t>times increase</a:t>
              </a:r>
            </a:p>
          </p:txBody>
        </p:sp>
      </p:grpSp>
      <p:grpSp>
        <p:nvGrpSpPr>
          <p:cNvPr id="37" name="Group 36">
            <a:extLst>
              <a:ext uri="{FF2B5EF4-FFF2-40B4-BE49-F238E27FC236}">
                <a16:creationId xmlns:a16="http://schemas.microsoft.com/office/drawing/2014/main" id="{62192805-3933-4DE2-971B-38CEE1BA57CB}"/>
              </a:ext>
            </a:extLst>
          </p:cNvPr>
          <p:cNvGrpSpPr/>
          <p:nvPr/>
        </p:nvGrpSpPr>
        <p:grpSpPr>
          <a:xfrm>
            <a:off x="1068971" y="4585067"/>
            <a:ext cx="4983485" cy="1262748"/>
            <a:chOff x="1068971" y="4585067"/>
            <a:chExt cx="4983485" cy="1262748"/>
          </a:xfrm>
        </p:grpSpPr>
        <p:sp>
          <p:nvSpPr>
            <p:cNvPr id="11" name="Rectangle: Rounded Corners 10">
              <a:extLst>
                <a:ext uri="{FF2B5EF4-FFF2-40B4-BE49-F238E27FC236}">
                  <a16:creationId xmlns:a16="http://schemas.microsoft.com/office/drawing/2014/main" id="{A092773E-210B-4B97-83F3-2CAA3123ABB3}"/>
                </a:ext>
              </a:extLst>
            </p:cNvPr>
            <p:cNvSpPr/>
            <p:nvPr/>
          </p:nvSpPr>
          <p:spPr>
            <a:xfrm>
              <a:off x="1068971" y="4585068"/>
              <a:ext cx="2632169" cy="1262747"/>
            </a:xfrm>
            <a:prstGeom prst="roundRect">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400" dirty="0">
                  <a:solidFill>
                    <a:schemeClr val="bg1"/>
                  </a:solidFill>
                </a:rPr>
                <a:t>1 Mb/s </a:t>
              </a:r>
              <a:r>
                <a:rPr lang="en-US" sz="2400" dirty="0">
                  <a:solidFill>
                    <a:schemeClr val="bg1"/>
                  </a:solidFill>
                  <a:sym typeface="Wingdings" panose="05000000000000000000" pitchFamily="2" charset="2"/>
                </a:rPr>
                <a:t> 80 Tb/s per fiber pair</a:t>
              </a:r>
              <a:endParaRPr lang="en-US" sz="2400" dirty="0">
                <a:solidFill>
                  <a:schemeClr val="bg1"/>
                </a:solidFill>
              </a:endParaRPr>
            </a:p>
          </p:txBody>
        </p:sp>
        <p:sp>
          <p:nvSpPr>
            <p:cNvPr id="13" name="Rectangle: Rounded Corners 12">
              <a:extLst>
                <a:ext uri="{FF2B5EF4-FFF2-40B4-BE49-F238E27FC236}">
                  <a16:creationId xmlns:a16="http://schemas.microsoft.com/office/drawing/2014/main" id="{CA807C5A-6B57-4244-9E0C-3D80D4C89636}"/>
                </a:ext>
              </a:extLst>
            </p:cNvPr>
            <p:cNvSpPr/>
            <p:nvPr/>
          </p:nvSpPr>
          <p:spPr>
            <a:xfrm>
              <a:off x="3814350" y="4585067"/>
              <a:ext cx="2238106" cy="1262747"/>
            </a:xfrm>
            <a:prstGeom prst="roundRect">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b="1" i="1" dirty="0">
                  <a:solidFill>
                    <a:schemeClr val="accent3"/>
                  </a:solidFill>
                </a:rPr>
                <a:t>80</a:t>
              </a:r>
              <a:r>
                <a:rPr lang="en-US" sz="3200" dirty="0">
                  <a:solidFill>
                    <a:schemeClr val="accent3"/>
                  </a:solidFill>
                </a:rPr>
                <a:t> </a:t>
              </a:r>
              <a:r>
                <a:rPr lang="en-US" sz="3200" b="1" i="1" dirty="0">
                  <a:solidFill>
                    <a:schemeClr val="accent3"/>
                  </a:solidFill>
                </a:rPr>
                <a:t>Million</a:t>
              </a:r>
              <a:r>
                <a:rPr lang="en-US" sz="3200" dirty="0">
                  <a:solidFill>
                    <a:schemeClr val="accent3"/>
                  </a:solidFill>
                </a:rPr>
                <a:t> </a:t>
              </a:r>
            </a:p>
            <a:p>
              <a:pPr algn="ctr"/>
              <a:r>
                <a:rPr lang="en-US" sz="2400" dirty="0">
                  <a:solidFill>
                    <a:schemeClr val="bg1"/>
                  </a:solidFill>
                </a:rPr>
                <a:t>times increase</a:t>
              </a:r>
            </a:p>
          </p:txBody>
        </p:sp>
      </p:grpSp>
      <p:sp>
        <p:nvSpPr>
          <p:cNvPr id="14" name="Rectangle: Rounded Corners 13">
            <a:extLst>
              <a:ext uri="{FF2B5EF4-FFF2-40B4-BE49-F238E27FC236}">
                <a16:creationId xmlns:a16="http://schemas.microsoft.com/office/drawing/2014/main" id="{06F5EF9F-770B-4B9C-AD07-9D1200766F75}"/>
              </a:ext>
            </a:extLst>
          </p:cNvPr>
          <p:cNvSpPr/>
          <p:nvPr/>
        </p:nvSpPr>
        <p:spPr>
          <a:xfrm>
            <a:off x="6522729" y="2673536"/>
            <a:ext cx="5351421" cy="3466012"/>
          </a:xfrm>
          <a:prstGeom prst="roundRect">
            <a:avLst>
              <a:gd name="adj" fmla="val 4607"/>
            </a:avLst>
          </a:prstGeom>
          <a:solidFill>
            <a:srgbClr val="FFFFFF">
              <a:alpha val="69804"/>
            </a:srgbClr>
          </a:solidFill>
          <a:ln w="285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dirty="0">
              <a:solidFill>
                <a:schemeClr val="bg1"/>
              </a:solidFill>
            </a:endParaRPr>
          </a:p>
        </p:txBody>
      </p:sp>
      <p:sp>
        <p:nvSpPr>
          <p:cNvPr id="15" name="Rectangle: Rounded Corners 14">
            <a:extLst>
              <a:ext uri="{FF2B5EF4-FFF2-40B4-BE49-F238E27FC236}">
                <a16:creationId xmlns:a16="http://schemas.microsoft.com/office/drawing/2014/main" id="{9BB41929-C9DA-4B8B-98C2-0BFD5FC7DB0F}"/>
              </a:ext>
            </a:extLst>
          </p:cNvPr>
          <p:cNvSpPr/>
          <p:nvPr/>
        </p:nvSpPr>
        <p:spPr>
          <a:xfrm>
            <a:off x="6777455" y="2440585"/>
            <a:ext cx="4600299" cy="492043"/>
          </a:xfrm>
          <a:prstGeom prst="roundRect">
            <a:avLst>
              <a:gd name="adj" fmla="val 50000"/>
            </a:avLst>
          </a:prstGeom>
          <a:solidFill>
            <a:schemeClr val="accent6">
              <a:lumMod val="75000"/>
            </a:schemeClr>
          </a:solidFill>
          <a:ln w="12700">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dirty="0">
                <a:solidFill>
                  <a:schemeClr val="bg1"/>
                </a:solidFill>
              </a:rPr>
              <a:t>The Foundation of Global Communications</a:t>
            </a:r>
          </a:p>
        </p:txBody>
      </p:sp>
      <p:pic>
        <p:nvPicPr>
          <p:cNvPr id="27" name="Picture 26">
            <a:extLst>
              <a:ext uri="{FF2B5EF4-FFF2-40B4-BE49-F238E27FC236}">
                <a16:creationId xmlns:a16="http://schemas.microsoft.com/office/drawing/2014/main" id="{FC822C49-E23D-418A-B1B1-1676864EE4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780656" y="3076009"/>
            <a:ext cx="903238" cy="903238"/>
          </a:xfrm>
          <a:prstGeom prst="rect">
            <a:avLst/>
          </a:prstGeom>
        </p:spPr>
      </p:pic>
      <p:pic>
        <p:nvPicPr>
          <p:cNvPr id="28" name="Picture 27">
            <a:extLst>
              <a:ext uri="{FF2B5EF4-FFF2-40B4-BE49-F238E27FC236}">
                <a16:creationId xmlns:a16="http://schemas.microsoft.com/office/drawing/2014/main" id="{DADEC036-3F02-4AEE-8E1E-460B1CECA8C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780656" y="4015724"/>
            <a:ext cx="903238" cy="903238"/>
          </a:xfrm>
          <a:prstGeom prst="rect">
            <a:avLst/>
          </a:prstGeom>
        </p:spPr>
      </p:pic>
      <p:pic>
        <p:nvPicPr>
          <p:cNvPr id="29" name="Picture 28">
            <a:extLst>
              <a:ext uri="{FF2B5EF4-FFF2-40B4-BE49-F238E27FC236}">
                <a16:creationId xmlns:a16="http://schemas.microsoft.com/office/drawing/2014/main" id="{C376ACF1-1AE5-4ADB-B669-2768E0AB94C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778911" y="4955439"/>
            <a:ext cx="903238" cy="903238"/>
          </a:xfrm>
          <a:prstGeom prst="rect">
            <a:avLst/>
          </a:prstGeom>
        </p:spPr>
      </p:pic>
      <p:pic>
        <p:nvPicPr>
          <p:cNvPr id="30" name="Picture 29">
            <a:extLst>
              <a:ext uri="{FF2B5EF4-FFF2-40B4-BE49-F238E27FC236}">
                <a16:creationId xmlns:a16="http://schemas.microsoft.com/office/drawing/2014/main" id="{E72DC159-4C62-455C-B0F8-693CDC4655F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708873" y="3076009"/>
            <a:ext cx="892611" cy="903238"/>
          </a:xfrm>
          <a:prstGeom prst="rect">
            <a:avLst/>
          </a:prstGeom>
        </p:spPr>
      </p:pic>
      <p:pic>
        <p:nvPicPr>
          <p:cNvPr id="31" name="Picture 30">
            <a:extLst>
              <a:ext uri="{FF2B5EF4-FFF2-40B4-BE49-F238E27FC236}">
                <a16:creationId xmlns:a16="http://schemas.microsoft.com/office/drawing/2014/main" id="{3196BC93-9A3C-4FB7-B620-D43519AC695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708873" y="4015724"/>
            <a:ext cx="903238" cy="903238"/>
          </a:xfrm>
          <a:prstGeom prst="rect">
            <a:avLst/>
          </a:prstGeom>
        </p:spPr>
      </p:pic>
      <p:pic>
        <p:nvPicPr>
          <p:cNvPr id="32" name="Picture 31">
            <a:extLst>
              <a:ext uri="{FF2B5EF4-FFF2-40B4-BE49-F238E27FC236}">
                <a16:creationId xmlns:a16="http://schemas.microsoft.com/office/drawing/2014/main" id="{5930733D-262A-4969-801F-533617FA8AE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708873" y="4955439"/>
            <a:ext cx="903238" cy="903238"/>
          </a:xfrm>
          <a:prstGeom prst="rect">
            <a:avLst/>
          </a:prstGeom>
        </p:spPr>
      </p:pic>
      <p:pic>
        <p:nvPicPr>
          <p:cNvPr id="33" name="Picture 32">
            <a:extLst>
              <a:ext uri="{FF2B5EF4-FFF2-40B4-BE49-F238E27FC236}">
                <a16:creationId xmlns:a16="http://schemas.microsoft.com/office/drawing/2014/main" id="{BF23E76A-35DF-4788-9793-26B18AE8F41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8633469" y="4955439"/>
            <a:ext cx="903238" cy="903238"/>
          </a:xfrm>
          <a:prstGeom prst="rect">
            <a:avLst/>
          </a:prstGeom>
        </p:spPr>
      </p:pic>
      <p:pic>
        <p:nvPicPr>
          <p:cNvPr id="34" name="Picture 33">
            <a:extLst>
              <a:ext uri="{FF2B5EF4-FFF2-40B4-BE49-F238E27FC236}">
                <a16:creationId xmlns:a16="http://schemas.microsoft.com/office/drawing/2014/main" id="{60C0CCEC-22A0-41FC-A09C-971CFD3B6BC3}"/>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8626463" y="3076009"/>
            <a:ext cx="892611" cy="892611"/>
          </a:xfrm>
          <a:prstGeom prst="rect">
            <a:avLst/>
          </a:prstGeom>
        </p:spPr>
      </p:pic>
      <p:pic>
        <p:nvPicPr>
          <p:cNvPr id="35" name="Picture 34">
            <a:extLst>
              <a:ext uri="{FF2B5EF4-FFF2-40B4-BE49-F238E27FC236}">
                <a16:creationId xmlns:a16="http://schemas.microsoft.com/office/drawing/2014/main" id="{E7E85F88-5B9A-4BE2-86F4-F5F9AE615748}"/>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8637090" y="4015724"/>
            <a:ext cx="881984" cy="892611"/>
          </a:xfrm>
          <a:prstGeom prst="rect">
            <a:avLst/>
          </a:prstGeom>
        </p:spPr>
      </p:pic>
      <p:sp>
        <p:nvSpPr>
          <p:cNvPr id="9" name="TextBox 8">
            <a:extLst>
              <a:ext uri="{FF2B5EF4-FFF2-40B4-BE49-F238E27FC236}">
                <a16:creationId xmlns:a16="http://schemas.microsoft.com/office/drawing/2014/main" id="{86BDCF58-520C-473E-A89B-63F8E4232CBF}"/>
              </a:ext>
            </a:extLst>
          </p:cNvPr>
          <p:cNvSpPr txBox="1"/>
          <p:nvPr/>
        </p:nvSpPr>
        <p:spPr>
          <a:xfrm>
            <a:off x="9614737" y="3613617"/>
            <a:ext cx="2237143" cy="1471172"/>
          </a:xfrm>
          <a:prstGeom prst="rect">
            <a:avLst/>
          </a:prstGeom>
        </p:spPr>
        <p:txBody>
          <a:bodyPr vert="horz" wrap="square" lIns="91440" tIns="45720" rIns="91440" bIns="45720" rtlCol="0">
            <a:spAutoFit/>
          </a:bodyPr>
          <a:lstStyle/>
          <a:p>
            <a:pPr algn="ctr">
              <a:spcBef>
                <a:spcPct val="20000"/>
              </a:spcBef>
              <a:buClr>
                <a:srgbClr val="6D6E71"/>
              </a:buClr>
            </a:pPr>
            <a:r>
              <a:rPr lang="en-US" sz="2800" b="1" dirty="0">
                <a:solidFill>
                  <a:schemeClr val="tx2"/>
                </a:solidFill>
              </a:rPr>
              <a:t>Transported on</a:t>
            </a:r>
          </a:p>
          <a:p>
            <a:pPr algn="ctr">
              <a:spcBef>
                <a:spcPct val="20000"/>
              </a:spcBef>
              <a:buClr>
                <a:srgbClr val="6D6E71"/>
              </a:buClr>
            </a:pPr>
            <a:r>
              <a:rPr lang="en-US" sz="2800" b="1" dirty="0">
                <a:solidFill>
                  <a:schemeClr val="tx2"/>
                </a:solidFill>
              </a:rPr>
              <a:t>Optical Fiber</a:t>
            </a:r>
          </a:p>
        </p:txBody>
      </p:sp>
    </p:spTree>
    <p:extLst>
      <p:ext uri="{BB962C8B-B14F-4D97-AF65-F5344CB8AC3E}">
        <p14:creationId xmlns:p14="http://schemas.microsoft.com/office/powerpoint/2010/main" val="47645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500" fill="hold"/>
                                        <p:tgtEl>
                                          <p:spTgt spid="5"/>
                                        </p:tgtEl>
                                        <p:attrNameLst>
                                          <p:attrName>ppt_w</p:attrName>
                                        </p:attrNameLst>
                                      </p:cBhvr>
                                      <p:tavLst>
                                        <p:tav tm="0">
                                          <p:val>
                                            <p:fltVal val="0"/>
                                          </p:val>
                                        </p:tav>
                                        <p:tav tm="100000">
                                          <p:val>
                                            <p:strVal val="#ppt_w"/>
                                          </p:val>
                                        </p:tav>
                                      </p:tavLst>
                                    </p:anim>
                                    <p:anim calcmode="lin" valueType="num">
                                      <p:cBhvr>
                                        <p:cTn id="15" dur="500" fill="hold"/>
                                        <p:tgtEl>
                                          <p:spTgt spid="5"/>
                                        </p:tgtEl>
                                        <p:attrNameLst>
                                          <p:attrName>ppt_h</p:attrName>
                                        </p:attrNameLst>
                                      </p:cBhvr>
                                      <p:tavLst>
                                        <p:tav tm="0">
                                          <p:val>
                                            <p:fltVal val="0"/>
                                          </p:val>
                                        </p:tav>
                                        <p:tav tm="100000">
                                          <p:val>
                                            <p:strVal val="#ppt_h"/>
                                          </p:val>
                                        </p:tav>
                                      </p:tavLst>
                                    </p:anim>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fltVal val="0"/>
                                          </p:val>
                                        </p:tav>
                                        <p:tav tm="100000">
                                          <p:val>
                                            <p:strVal val="#ppt_w"/>
                                          </p:val>
                                        </p:tav>
                                      </p:tavLst>
                                    </p:anim>
                                    <p:anim calcmode="lin" valueType="num">
                                      <p:cBhvr>
                                        <p:cTn id="22" dur="500" fill="hold"/>
                                        <p:tgtEl>
                                          <p:spTgt spid="16"/>
                                        </p:tgtEl>
                                        <p:attrNameLst>
                                          <p:attrName>ppt_h</p:attrName>
                                        </p:attrNameLst>
                                      </p:cBhvr>
                                      <p:tavLst>
                                        <p:tav tm="0">
                                          <p:val>
                                            <p:fltVal val="0"/>
                                          </p:val>
                                        </p:tav>
                                        <p:tav tm="100000">
                                          <p:val>
                                            <p:strVal val="#ppt_h"/>
                                          </p:val>
                                        </p:tav>
                                      </p:tavLst>
                                    </p:anim>
                                    <p:animEffect transition="in" filter="fade">
                                      <p:cBhvr>
                                        <p:cTn id="23" dur="5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wipe(left)">
                                      <p:cBhvr>
                                        <p:cTn id="28" dur="500"/>
                                        <p:tgtEl>
                                          <p:spTgt spid="3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3776520-0B81-4F57-BE19-BD0728AF5626}"/>
              </a:ext>
            </a:extLst>
          </p:cNvPr>
          <p:cNvSpPr>
            <a:spLocks noGrp="1"/>
          </p:cNvSpPr>
          <p:nvPr>
            <p:ph type="body" sz="quarter" idx="11"/>
          </p:nvPr>
        </p:nvSpPr>
        <p:spPr>
          <a:xfrm>
            <a:off x="2173955" y="2853796"/>
            <a:ext cx="7844089" cy="2584174"/>
          </a:xfrm>
        </p:spPr>
        <p:txBody>
          <a:bodyPr>
            <a:normAutofit/>
          </a:bodyPr>
          <a:lstStyle/>
          <a:p>
            <a:pPr algn="ctr"/>
            <a:r>
              <a:rPr lang="en-US" sz="6000" dirty="0"/>
              <a:t>Future Potential for HCF</a:t>
            </a:r>
          </a:p>
        </p:txBody>
      </p:sp>
    </p:spTree>
    <p:extLst>
      <p:ext uri="{BB962C8B-B14F-4D97-AF65-F5344CB8AC3E}">
        <p14:creationId xmlns:p14="http://schemas.microsoft.com/office/powerpoint/2010/main" val="14201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55F97-1AA2-4379-B5F3-314C038C9F01}"/>
              </a:ext>
            </a:extLst>
          </p:cNvPr>
          <p:cNvSpPr>
            <a:spLocks noGrp="1"/>
          </p:cNvSpPr>
          <p:nvPr>
            <p:ph type="title"/>
          </p:nvPr>
        </p:nvSpPr>
        <p:spPr/>
        <p:txBody>
          <a:bodyPr/>
          <a:lstStyle/>
          <a:p>
            <a:r>
              <a:rPr lang="en-US" dirty="0"/>
              <a:t>Lower Attenuation Over More Spectrum</a:t>
            </a:r>
          </a:p>
        </p:txBody>
      </p:sp>
      <p:pic>
        <p:nvPicPr>
          <p:cNvPr id="7" name="Picture 2">
            <a:extLst>
              <a:ext uri="{FF2B5EF4-FFF2-40B4-BE49-F238E27FC236}">
                <a16:creationId xmlns:a16="http://schemas.microsoft.com/office/drawing/2014/main" id="{AC91D4BF-384E-0D45-C8D9-BAF27D2AA7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461"/>
          <a:stretch/>
        </p:blipFill>
        <p:spPr bwMode="auto">
          <a:xfrm>
            <a:off x="209818" y="1101491"/>
            <a:ext cx="8221847" cy="506663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04790F4-A2C3-BDDB-DC78-3415A2516970}"/>
              </a:ext>
            </a:extLst>
          </p:cNvPr>
          <p:cNvSpPr/>
          <p:nvPr/>
        </p:nvSpPr>
        <p:spPr>
          <a:xfrm>
            <a:off x="844" y="1109804"/>
            <a:ext cx="6708900" cy="5224494"/>
          </a:xfrm>
          <a:prstGeom prst="rect">
            <a:avLst/>
          </a:prstGeom>
          <a:solidFill>
            <a:srgbClr val="FFFFFF">
              <a:alpha val="50196"/>
            </a:srgbClr>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nvGrpSpPr>
          <p:cNvPr id="23" name="Group 22">
            <a:extLst>
              <a:ext uri="{FF2B5EF4-FFF2-40B4-BE49-F238E27FC236}">
                <a16:creationId xmlns:a16="http://schemas.microsoft.com/office/drawing/2014/main" id="{78A381CC-8054-55E5-333A-B5E5E8185EE0}"/>
              </a:ext>
            </a:extLst>
          </p:cNvPr>
          <p:cNvGrpSpPr/>
          <p:nvPr/>
        </p:nvGrpSpPr>
        <p:grpSpPr>
          <a:xfrm>
            <a:off x="5082255" y="2297076"/>
            <a:ext cx="6799854" cy="1919324"/>
            <a:chOff x="5082255" y="2297076"/>
            <a:chExt cx="6799854" cy="1919324"/>
          </a:xfrm>
        </p:grpSpPr>
        <p:sp>
          <p:nvSpPr>
            <p:cNvPr id="10" name="TextBox 9">
              <a:extLst>
                <a:ext uri="{FF2B5EF4-FFF2-40B4-BE49-F238E27FC236}">
                  <a16:creationId xmlns:a16="http://schemas.microsoft.com/office/drawing/2014/main" id="{F609A80F-9D3C-C601-E84F-5E136AED3BF1}"/>
                </a:ext>
              </a:extLst>
            </p:cNvPr>
            <p:cNvSpPr txBox="1"/>
            <p:nvPr/>
          </p:nvSpPr>
          <p:spPr>
            <a:xfrm>
              <a:off x="6481143" y="2297076"/>
              <a:ext cx="5400966"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bg2"/>
                  </a:solidFill>
                </a:rPr>
                <a:t>Silica core fiber has low attenuation here</a:t>
              </a:r>
            </a:p>
          </p:txBody>
        </p:sp>
        <p:sp>
          <p:nvSpPr>
            <p:cNvPr id="11" name="Rectangle: Rounded Corners 10">
              <a:extLst>
                <a:ext uri="{FF2B5EF4-FFF2-40B4-BE49-F238E27FC236}">
                  <a16:creationId xmlns:a16="http://schemas.microsoft.com/office/drawing/2014/main" id="{7F687037-D377-6814-DC51-C2EFDD3C94F5}"/>
                </a:ext>
              </a:extLst>
            </p:cNvPr>
            <p:cNvSpPr/>
            <p:nvPr/>
          </p:nvSpPr>
          <p:spPr>
            <a:xfrm>
              <a:off x="5082255" y="4013201"/>
              <a:ext cx="370278" cy="203199"/>
            </a:xfrm>
            <a:prstGeom prst="roundRect">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cxnSp>
          <p:nvCxnSpPr>
            <p:cNvPr id="13" name="Connector: Elbow 12">
              <a:extLst>
                <a:ext uri="{FF2B5EF4-FFF2-40B4-BE49-F238E27FC236}">
                  <a16:creationId xmlns:a16="http://schemas.microsoft.com/office/drawing/2014/main" id="{D1A56F31-55A6-50C1-97B6-6AD4AF4A7C84}"/>
                </a:ext>
              </a:extLst>
            </p:cNvPr>
            <p:cNvCxnSpPr>
              <a:cxnSpLocks/>
              <a:stCxn id="10" idx="2"/>
              <a:endCxn id="11" idx="3"/>
            </p:cNvCxnSpPr>
            <p:nvPr/>
          </p:nvCxnSpPr>
          <p:spPr>
            <a:xfrm rot="5400000">
              <a:off x="6639050" y="1572225"/>
              <a:ext cx="1356060" cy="3729093"/>
            </a:xfrm>
            <a:prstGeom prst="bentConnector2">
              <a:avLst/>
            </a:prstGeom>
            <a:ln>
              <a:solidFill>
                <a:schemeClr val="bg2"/>
              </a:solidFill>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9A5A92B1-BBA8-EF6D-B6E3-7E7769DFBCD2}"/>
              </a:ext>
            </a:extLst>
          </p:cNvPr>
          <p:cNvGrpSpPr/>
          <p:nvPr/>
        </p:nvGrpSpPr>
        <p:grpSpPr>
          <a:xfrm>
            <a:off x="3860800" y="4326468"/>
            <a:ext cx="6324600" cy="953496"/>
            <a:chOff x="3860800" y="4326468"/>
            <a:chExt cx="6324600" cy="953496"/>
          </a:xfrm>
        </p:grpSpPr>
        <p:sp>
          <p:nvSpPr>
            <p:cNvPr id="15" name="Rectangle: Rounded Corners 14">
              <a:extLst>
                <a:ext uri="{FF2B5EF4-FFF2-40B4-BE49-F238E27FC236}">
                  <a16:creationId xmlns:a16="http://schemas.microsoft.com/office/drawing/2014/main" id="{29A42AF0-9239-3B36-E91D-4A03590BEE83}"/>
                </a:ext>
              </a:extLst>
            </p:cNvPr>
            <p:cNvSpPr/>
            <p:nvPr/>
          </p:nvSpPr>
          <p:spPr>
            <a:xfrm>
              <a:off x="3860800" y="4326468"/>
              <a:ext cx="1591733" cy="203199"/>
            </a:xfrm>
            <a:prstGeom prst="round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7" name="TextBox 16">
              <a:extLst>
                <a:ext uri="{FF2B5EF4-FFF2-40B4-BE49-F238E27FC236}">
                  <a16:creationId xmlns:a16="http://schemas.microsoft.com/office/drawing/2014/main" id="{EBB98A0E-9B05-ADA3-CBAD-371A7BCDFF83}"/>
                </a:ext>
              </a:extLst>
            </p:cNvPr>
            <p:cNvSpPr txBox="1"/>
            <p:nvPr/>
          </p:nvSpPr>
          <p:spPr>
            <a:xfrm>
              <a:off x="6640932" y="4448967"/>
              <a:ext cx="3544468" cy="830997"/>
            </a:xfrm>
            <a:prstGeom prst="rect">
              <a:avLst/>
            </a:prstGeom>
          </p:spPr>
          <p:txBody>
            <a:bodyPr vert="horz" wrap="square" lIns="91440" tIns="45720" rIns="91440" bIns="45720" rtlCol="0">
              <a:spAutoFit/>
            </a:bodyPr>
            <a:lstStyle/>
            <a:p>
              <a:pPr algn="l">
                <a:spcBef>
                  <a:spcPct val="20000"/>
                </a:spcBef>
                <a:buClr>
                  <a:srgbClr val="6D6E71"/>
                </a:buClr>
              </a:pPr>
              <a:r>
                <a:rPr lang="en-US" sz="2400" b="1" dirty="0">
                  <a:solidFill>
                    <a:schemeClr val="accent6"/>
                  </a:solidFill>
                </a:rPr>
                <a:t>HCF has </a:t>
              </a:r>
              <a:r>
                <a:rPr lang="en-US" sz="2400" b="1" i="1" u="sng" dirty="0">
                  <a:solidFill>
                    <a:schemeClr val="accent6"/>
                  </a:solidFill>
                </a:rPr>
                <a:t>already</a:t>
              </a:r>
              <a:r>
                <a:rPr lang="en-US" sz="2400" b="1" dirty="0">
                  <a:solidFill>
                    <a:schemeClr val="accent6"/>
                  </a:solidFill>
                </a:rPr>
                <a:t> shown low attenuation here…</a:t>
              </a:r>
            </a:p>
          </p:txBody>
        </p:sp>
        <p:cxnSp>
          <p:nvCxnSpPr>
            <p:cNvPr id="19" name="Connector: Elbow 18">
              <a:extLst>
                <a:ext uri="{FF2B5EF4-FFF2-40B4-BE49-F238E27FC236}">
                  <a16:creationId xmlns:a16="http://schemas.microsoft.com/office/drawing/2014/main" id="{5622E03B-9BD2-2C72-BB6C-B0D0E5E28C41}"/>
                </a:ext>
              </a:extLst>
            </p:cNvPr>
            <p:cNvCxnSpPr>
              <a:cxnSpLocks/>
              <a:stCxn id="17" idx="1"/>
              <a:endCxn id="15" idx="2"/>
            </p:cNvCxnSpPr>
            <p:nvPr/>
          </p:nvCxnSpPr>
          <p:spPr>
            <a:xfrm rot="10800000">
              <a:off x="4656668" y="4529668"/>
              <a:ext cx="1984265" cy="334799"/>
            </a:xfrm>
            <a:prstGeom prst="bentConnector2">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sp>
        <p:nvSpPr>
          <p:cNvPr id="22" name="TextBox 21">
            <a:extLst>
              <a:ext uri="{FF2B5EF4-FFF2-40B4-BE49-F238E27FC236}">
                <a16:creationId xmlns:a16="http://schemas.microsoft.com/office/drawing/2014/main" id="{609586FE-68F0-A360-4C83-1D646156A479}"/>
              </a:ext>
            </a:extLst>
          </p:cNvPr>
          <p:cNvSpPr txBox="1"/>
          <p:nvPr/>
        </p:nvSpPr>
        <p:spPr>
          <a:xfrm>
            <a:off x="6721141" y="5461098"/>
            <a:ext cx="4582754" cy="461665"/>
          </a:xfrm>
          <a:prstGeom prst="rect">
            <a:avLst/>
          </a:prstGeom>
        </p:spPr>
        <p:txBody>
          <a:bodyPr vert="horz" wrap="square" lIns="91440" tIns="45720" rIns="91440" bIns="45720" rtlCol="0">
            <a:spAutoFit/>
          </a:bodyPr>
          <a:lstStyle/>
          <a:p>
            <a:pPr algn="l">
              <a:spcBef>
                <a:spcPct val="20000"/>
              </a:spcBef>
              <a:buClr>
                <a:srgbClr val="6D6E71"/>
              </a:buClr>
            </a:pPr>
            <a:r>
              <a:rPr lang="en-US" sz="2400" b="1" dirty="0">
                <a:solidFill>
                  <a:schemeClr val="accent6"/>
                </a:solidFill>
              </a:rPr>
              <a:t>…and there may be more to come</a:t>
            </a:r>
          </a:p>
        </p:txBody>
      </p:sp>
    </p:spTree>
    <p:extLst>
      <p:ext uri="{BB962C8B-B14F-4D97-AF65-F5344CB8AC3E}">
        <p14:creationId xmlns:p14="http://schemas.microsoft.com/office/powerpoint/2010/main" val="379394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left)">
                                      <p:cBhvr>
                                        <p:cTn id="11" dur="500"/>
                                        <p:tgtEl>
                                          <p:spTgt spid="2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wipe(left)">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E8D2B-1B6A-9F83-EDE5-18645F97434B}"/>
              </a:ext>
            </a:extLst>
          </p:cNvPr>
          <p:cNvSpPr>
            <a:spLocks noGrp="1"/>
          </p:cNvSpPr>
          <p:nvPr>
            <p:ph type="title"/>
          </p:nvPr>
        </p:nvSpPr>
        <p:spPr/>
        <p:txBody>
          <a:bodyPr/>
          <a:lstStyle/>
          <a:p>
            <a:r>
              <a:rPr lang="en-US" dirty="0"/>
              <a:t>Lower Nonlinear Penalty (potentially)</a:t>
            </a:r>
          </a:p>
        </p:txBody>
      </p:sp>
      <p:grpSp>
        <p:nvGrpSpPr>
          <p:cNvPr id="17" name="Group 16">
            <a:extLst>
              <a:ext uri="{FF2B5EF4-FFF2-40B4-BE49-F238E27FC236}">
                <a16:creationId xmlns:a16="http://schemas.microsoft.com/office/drawing/2014/main" id="{A374A3DA-8937-FE2C-B5B4-C73DEF543E91}"/>
              </a:ext>
            </a:extLst>
          </p:cNvPr>
          <p:cNvGrpSpPr/>
          <p:nvPr/>
        </p:nvGrpSpPr>
        <p:grpSpPr>
          <a:xfrm>
            <a:off x="333976" y="1135863"/>
            <a:ext cx="6217667" cy="2888144"/>
            <a:chOff x="333976" y="1135863"/>
            <a:chExt cx="6217667" cy="2888144"/>
          </a:xfrm>
        </p:grpSpPr>
        <p:pic>
          <p:nvPicPr>
            <p:cNvPr id="6" name="Graphic 5" descr="Volume with solid fill">
              <a:extLst>
                <a:ext uri="{FF2B5EF4-FFF2-40B4-BE49-F238E27FC236}">
                  <a16:creationId xmlns:a16="http://schemas.microsoft.com/office/drawing/2014/main" id="{E9DA9B02-E361-EC56-952D-1DAE45996B5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7509" y="1430945"/>
              <a:ext cx="1503145" cy="1503145"/>
            </a:xfrm>
            <a:prstGeom prst="rect">
              <a:avLst/>
            </a:prstGeom>
          </p:spPr>
        </p:pic>
        <p:pic>
          <p:nvPicPr>
            <p:cNvPr id="10" name="Picture 2" descr="Pin di ISB204-English">
              <a:extLst>
                <a:ext uri="{FF2B5EF4-FFF2-40B4-BE49-F238E27FC236}">
                  <a16:creationId xmlns:a16="http://schemas.microsoft.com/office/drawing/2014/main" id="{2642DFD6-348F-D8BE-CB19-8521C5E032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2667" y="1135863"/>
              <a:ext cx="2739992" cy="194368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9EDD72A-87BE-E045-7010-8220C5DB6D22}"/>
                </a:ext>
              </a:extLst>
            </p:cNvPr>
            <p:cNvSpPr txBox="1"/>
            <p:nvPr/>
          </p:nvSpPr>
          <p:spPr>
            <a:xfrm>
              <a:off x="333976" y="3193010"/>
              <a:ext cx="6217667" cy="830997"/>
            </a:xfrm>
            <a:prstGeom prst="rect">
              <a:avLst/>
            </a:prstGeom>
          </p:spPr>
          <p:txBody>
            <a:bodyPr vert="horz" wrap="square" lIns="91440" tIns="45720" rIns="91440" bIns="45720" rtlCol="0">
              <a:spAutoFit/>
            </a:bodyPr>
            <a:lstStyle/>
            <a:p>
              <a:pPr algn="ctr">
                <a:spcBef>
                  <a:spcPct val="20000"/>
                </a:spcBef>
                <a:buClr>
                  <a:srgbClr val="6D6E71"/>
                </a:buClr>
              </a:pPr>
              <a:r>
                <a:rPr lang="en-US" sz="2400" dirty="0">
                  <a:solidFill>
                    <a:schemeClr val="tx2"/>
                  </a:solidFill>
                </a:rPr>
                <a:t>The NL penalty in HCF may be multiple orders of magnitude lower than silica core fiber</a:t>
              </a:r>
            </a:p>
          </p:txBody>
        </p:sp>
      </p:grpSp>
      <p:grpSp>
        <p:nvGrpSpPr>
          <p:cNvPr id="18" name="Group 17">
            <a:extLst>
              <a:ext uri="{FF2B5EF4-FFF2-40B4-BE49-F238E27FC236}">
                <a16:creationId xmlns:a16="http://schemas.microsoft.com/office/drawing/2014/main" id="{973A383D-E55B-6CD7-3043-E37AB1534395}"/>
              </a:ext>
            </a:extLst>
          </p:cNvPr>
          <p:cNvGrpSpPr/>
          <p:nvPr/>
        </p:nvGrpSpPr>
        <p:grpSpPr>
          <a:xfrm>
            <a:off x="7528712" y="1377269"/>
            <a:ext cx="3454400" cy="4373435"/>
            <a:chOff x="7528712" y="1377269"/>
            <a:chExt cx="3454400" cy="4373435"/>
          </a:xfrm>
        </p:grpSpPr>
        <p:sp>
          <p:nvSpPr>
            <p:cNvPr id="12" name="TextBox 11">
              <a:extLst>
                <a:ext uri="{FF2B5EF4-FFF2-40B4-BE49-F238E27FC236}">
                  <a16:creationId xmlns:a16="http://schemas.microsoft.com/office/drawing/2014/main" id="{E8674C5F-E58A-6A5C-50AA-4357F6E4E3A2}"/>
                </a:ext>
              </a:extLst>
            </p:cNvPr>
            <p:cNvSpPr txBox="1"/>
            <p:nvPr/>
          </p:nvSpPr>
          <p:spPr>
            <a:xfrm>
              <a:off x="7528712" y="1377269"/>
              <a:ext cx="3454400" cy="830997"/>
            </a:xfrm>
            <a:prstGeom prst="rect">
              <a:avLst/>
            </a:prstGeom>
          </p:spPr>
          <p:txBody>
            <a:bodyPr vert="horz" wrap="square" lIns="91440" tIns="45720" rIns="91440" bIns="45720" rtlCol="0">
              <a:spAutoFit/>
            </a:bodyPr>
            <a:lstStyle/>
            <a:p>
              <a:pPr algn="ctr">
                <a:spcBef>
                  <a:spcPct val="20000"/>
                </a:spcBef>
                <a:buClr>
                  <a:srgbClr val="6D6E71"/>
                </a:buClr>
              </a:pPr>
              <a:r>
                <a:rPr lang="en-US" sz="2400" dirty="0">
                  <a:solidFill>
                    <a:schemeClr val="tx2"/>
                  </a:solidFill>
                </a:rPr>
                <a:t>BUT…this may depend on what you fill it with</a:t>
              </a:r>
            </a:p>
          </p:txBody>
        </p:sp>
        <p:sp>
          <p:nvSpPr>
            <p:cNvPr id="13" name="Rectangle: Rounded Corners 12">
              <a:extLst>
                <a:ext uri="{FF2B5EF4-FFF2-40B4-BE49-F238E27FC236}">
                  <a16:creationId xmlns:a16="http://schemas.microsoft.com/office/drawing/2014/main" id="{1CBAC066-6688-7D2E-500A-58E149F39ED1}"/>
                </a:ext>
              </a:extLst>
            </p:cNvPr>
            <p:cNvSpPr/>
            <p:nvPr/>
          </p:nvSpPr>
          <p:spPr>
            <a:xfrm>
              <a:off x="7885918" y="2621621"/>
              <a:ext cx="2739991" cy="927491"/>
            </a:xfrm>
            <a:prstGeom prst="roundRect">
              <a:avLst>
                <a:gd name="adj" fmla="val 50000"/>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solidFill>
                    <a:schemeClr val="bg1"/>
                  </a:solidFill>
                </a:rPr>
                <a:t>AIR</a:t>
              </a:r>
            </a:p>
          </p:txBody>
        </p:sp>
        <p:sp>
          <p:nvSpPr>
            <p:cNvPr id="14" name="Rectangle: Rounded Corners 13">
              <a:extLst>
                <a:ext uri="{FF2B5EF4-FFF2-40B4-BE49-F238E27FC236}">
                  <a16:creationId xmlns:a16="http://schemas.microsoft.com/office/drawing/2014/main" id="{08C584D1-08D2-9794-0C97-1583B213601D}"/>
                </a:ext>
              </a:extLst>
            </p:cNvPr>
            <p:cNvSpPr/>
            <p:nvPr/>
          </p:nvSpPr>
          <p:spPr>
            <a:xfrm>
              <a:off x="7885918" y="3722417"/>
              <a:ext cx="2739991" cy="927491"/>
            </a:xfrm>
            <a:prstGeom prst="roundRect">
              <a:avLst>
                <a:gd name="adj" fmla="val 50000"/>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solidFill>
                    <a:schemeClr val="bg1"/>
                  </a:solidFill>
                </a:rPr>
                <a:t>INERT GAS</a:t>
              </a:r>
            </a:p>
          </p:txBody>
        </p:sp>
        <p:sp>
          <p:nvSpPr>
            <p:cNvPr id="15" name="Rectangle: Rounded Corners 14">
              <a:extLst>
                <a:ext uri="{FF2B5EF4-FFF2-40B4-BE49-F238E27FC236}">
                  <a16:creationId xmlns:a16="http://schemas.microsoft.com/office/drawing/2014/main" id="{F7FB13F2-290A-3C40-0975-0C4D42BFCB39}"/>
                </a:ext>
              </a:extLst>
            </p:cNvPr>
            <p:cNvSpPr/>
            <p:nvPr/>
          </p:nvSpPr>
          <p:spPr>
            <a:xfrm>
              <a:off x="7885917" y="4823213"/>
              <a:ext cx="2739991" cy="927491"/>
            </a:xfrm>
            <a:prstGeom prst="roundRect">
              <a:avLst>
                <a:gd name="adj" fmla="val 50000"/>
              </a:avLst>
            </a:prstGeom>
            <a:solidFill>
              <a:schemeClr val="accent1"/>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b="1" dirty="0">
                  <a:solidFill>
                    <a:schemeClr val="bg1"/>
                  </a:solidFill>
                </a:rPr>
                <a:t>VACUUM</a:t>
              </a:r>
            </a:p>
          </p:txBody>
        </p:sp>
      </p:grpSp>
      <p:sp>
        <p:nvSpPr>
          <p:cNvPr id="16" name="TextBox 15">
            <a:extLst>
              <a:ext uri="{FF2B5EF4-FFF2-40B4-BE49-F238E27FC236}">
                <a16:creationId xmlns:a16="http://schemas.microsoft.com/office/drawing/2014/main" id="{E85A489D-8BDE-A378-05AF-4AEC2E51C987}"/>
              </a:ext>
            </a:extLst>
          </p:cNvPr>
          <p:cNvSpPr txBox="1"/>
          <p:nvPr/>
        </p:nvSpPr>
        <p:spPr>
          <a:xfrm>
            <a:off x="333976" y="4538631"/>
            <a:ext cx="6217667" cy="1200329"/>
          </a:xfrm>
          <a:prstGeom prst="rect">
            <a:avLst/>
          </a:prstGeom>
        </p:spPr>
        <p:txBody>
          <a:bodyPr vert="horz" wrap="square" lIns="91440" tIns="45720" rIns="91440" bIns="45720" rtlCol="0">
            <a:spAutoFit/>
          </a:bodyPr>
          <a:lstStyle/>
          <a:p>
            <a:pPr algn="ctr">
              <a:spcBef>
                <a:spcPct val="20000"/>
              </a:spcBef>
              <a:buClr>
                <a:srgbClr val="6D6E71"/>
              </a:buClr>
            </a:pPr>
            <a:r>
              <a:rPr lang="en-US" sz="2400" b="1" i="1" dirty="0">
                <a:solidFill>
                  <a:schemeClr val="accent6"/>
                </a:solidFill>
              </a:rPr>
              <a:t>A low NL penalty means we can send much stronger optical signals into the fiber, and boost fiber capacity as a result</a:t>
            </a:r>
          </a:p>
        </p:txBody>
      </p:sp>
    </p:spTree>
    <p:extLst>
      <p:ext uri="{BB962C8B-B14F-4D97-AF65-F5344CB8AC3E}">
        <p14:creationId xmlns:p14="http://schemas.microsoft.com/office/powerpoint/2010/main" val="223381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wipe(up)">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A5132-C82E-4CAE-8724-1BDDE3C7BE16}"/>
              </a:ext>
            </a:extLst>
          </p:cNvPr>
          <p:cNvSpPr>
            <a:spLocks noGrp="1"/>
          </p:cNvSpPr>
          <p:nvPr>
            <p:ph type="title"/>
          </p:nvPr>
        </p:nvSpPr>
        <p:spPr/>
        <p:txBody>
          <a:bodyPr/>
          <a:lstStyle/>
          <a:p>
            <a:r>
              <a:rPr lang="en-US" dirty="0"/>
              <a:t>Questions About The </a:t>
            </a:r>
            <a:r>
              <a:rPr lang="en-US" b="1" i="1" dirty="0">
                <a:solidFill>
                  <a:schemeClr val="accent6"/>
                </a:solidFill>
              </a:rPr>
              <a:t>Practicality</a:t>
            </a:r>
            <a:r>
              <a:rPr lang="en-US" dirty="0"/>
              <a:t> of HCF</a:t>
            </a:r>
          </a:p>
        </p:txBody>
      </p:sp>
      <p:sp>
        <p:nvSpPr>
          <p:cNvPr id="3" name="Content Placeholder 2">
            <a:extLst>
              <a:ext uri="{FF2B5EF4-FFF2-40B4-BE49-F238E27FC236}">
                <a16:creationId xmlns:a16="http://schemas.microsoft.com/office/drawing/2014/main" id="{A192FE07-CBAE-403C-A988-91E6F4938CB1}"/>
              </a:ext>
            </a:extLst>
          </p:cNvPr>
          <p:cNvSpPr>
            <a:spLocks noGrp="1"/>
          </p:cNvSpPr>
          <p:nvPr>
            <p:ph idx="1"/>
          </p:nvPr>
        </p:nvSpPr>
        <p:spPr>
          <a:xfrm>
            <a:off x="443877" y="1267424"/>
            <a:ext cx="7012639" cy="4871976"/>
          </a:xfrm>
        </p:spPr>
        <p:txBody>
          <a:bodyPr>
            <a:normAutofit fontScale="92500" lnSpcReduction="10000"/>
          </a:bodyPr>
          <a:lstStyle/>
          <a:p>
            <a:r>
              <a:rPr lang="en-US" sz="2800" dirty="0"/>
              <a:t>Can it be made in quantity?</a:t>
            </a:r>
          </a:p>
          <a:p>
            <a:r>
              <a:rPr lang="en-US" sz="2800" dirty="0"/>
              <a:t>Does it work with the existing fiber ecosystem?</a:t>
            </a:r>
          </a:p>
          <a:p>
            <a:r>
              <a:rPr lang="en-US" sz="2800" dirty="0"/>
              <a:t>Deployment guidance vs conventional fiber</a:t>
            </a:r>
          </a:p>
          <a:p>
            <a:pPr lvl="1"/>
            <a:r>
              <a:rPr lang="en-US" sz="2400" dirty="0"/>
              <a:t>Pull force, bend radius, connector fitting</a:t>
            </a:r>
          </a:p>
          <a:p>
            <a:r>
              <a:rPr lang="en-US" sz="2800" dirty="0"/>
              <a:t>How will HCF age after deployment?</a:t>
            </a:r>
          </a:p>
          <a:p>
            <a:r>
              <a:rPr lang="en-US" sz="2800" dirty="0"/>
              <a:t>Are the microstructures vulnerable to in-service deformation? (e.g. in subsea)</a:t>
            </a:r>
          </a:p>
          <a:p>
            <a:r>
              <a:rPr lang="en-US" sz="2800" dirty="0"/>
              <a:t>How can we amplify over those additional wavebands?</a:t>
            </a:r>
          </a:p>
          <a:p>
            <a:r>
              <a:rPr lang="en-US" sz="2800" dirty="0"/>
              <a:t>What are the nonlinear advantages of the HCF you choose to deploy?</a:t>
            </a:r>
          </a:p>
        </p:txBody>
      </p:sp>
      <p:pic>
        <p:nvPicPr>
          <p:cNvPr id="5" name="Picture 4" descr="Shape, circle&#10;&#10;Description automatically generated">
            <a:extLst>
              <a:ext uri="{FF2B5EF4-FFF2-40B4-BE49-F238E27FC236}">
                <a16:creationId xmlns:a16="http://schemas.microsoft.com/office/drawing/2014/main" id="{96CD73C9-2056-49D0-9F1F-6DE6E4960B00}"/>
              </a:ext>
            </a:extLst>
          </p:cNvPr>
          <p:cNvPicPr>
            <a:picLocks noChangeAspect="1"/>
          </p:cNvPicPr>
          <p:nvPr/>
        </p:nvPicPr>
        <p:blipFill rotWithShape="1">
          <a:blip r:embed="rId2">
            <a:extLst>
              <a:ext uri="{28A0092B-C50C-407E-A947-70E740481C1C}">
                <a14:useLocalDpi xmlns:a14="http://schemas.microsoft.com/office/drawing/2010/main" val="0"/>
              </a:ext>
            </a:extLst>
          </a:blip>
          <a:srcRect l="75556" t="13597" r="2930" b="21471"/>
          <a:stretch/>
        </p:blipFill>
        <p:spPr>
          <a:xfrm>
            <a:off x="8756374" y="2375452"/>
            <a:ext cx="2117035" cy="2107096"/>
          </a:xfrm>
          <a:prstGeom prst="rect">
            <a:avLst/>
          </a:prstGeom>
        </p:spPr>
      </p:pic>
    </p:spTree>
    <p:extLst>
      <p:ext uri="{BB962C8B-B14F-4D97-AF65-F5344CB8AC3E}">
        <p14:creationId xmlns:p14="http://schemas.microsoft.com/office/powerpoint/2010/main" val="331101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par>
                                <p:cTn id="18" presetID="22" presetClass="entr" presetSubtype="8" fill="hold" nodeType="with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wipe(left)">
                                      <p:cBhvr>
                                        <p:cTn id="20" dur="500"/>
                                        <p:tgtEl>
                                          <p:spTgt spid="3">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wipe(left)">
                                      <p:cBhvr>
                                        <p:cTn id="25" dur="500"/>
                                        <p:tgtEl>
                                          <p:spTgt spid="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wipe(left)">
                                      <p:cBhvr>
                                        <p:cTn id="30" dur="500"/>
                                        <p:tgtEl>
                                          <p:spTgt spid="3">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wipe(left)">
                                      <p:cBhvr>
                                        <p:cTn id="35" dur="500"/>
                                        <p:tgtEl>
                                          <p:spTgt spid="3">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Effect transition="in" filter="wipe(left)">
                                      <p:cBhvr>
                                        <p:cTn id="40"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C0B1B-A6DA-F1BE-A7B3-9452C6E6D589}"/>
              </a:ext>
            </a:extLst>
          </p:cNvPr>
          <p:cNvSpPr>
            <a:spLocks noGrp="1"/>
          </p:cNvSpPr>
          <p:nvPr>
            <p:ph type="title"/>
          </p:nvPr>
        </p:nvSpPr>
        <p:spPr/>
        <p:txBody>
          <a:bodyPr/>
          <a:lstStyle/>
          <a:p>
            <a:r>
              <a:rPr lang="en-US" dirty="0"/>
              <a:t>A really brief summary of HCF status today</a:t>
            </a:r>
          </a:p>
        </p:txBody>
      </p:sp>
      <p:sp>
        <p:nvSpPr>
          <p:cNvPr id="5" name="Rectangle: Rounded Corners 4">
            <a:extLst>
              <a:ext uri="{FF2B5EF4-FFF2-40B4-BE49-F238E27FC236}">
                <a16:creationId xmlns:a16="http://schemas.microsoft.com/office/drawing/2014/main" id="{F3B0E9A5-EBD2-7788-D8A1-77DB1F7F225D}"/>
              </a:ext>
            </a:extLst>
          </p:cNvPr>
          <p:cNvSpPr/>
          <p:nvPr/>
        </p:nvSpPr>
        <p:spPr>
          <a:xfrm>
            <a:off x="443877" y="1122218"/>
            <a:ext cx="11173289" cy="1229095"/>
          </a:xfrm>
          <a:prstGeom prst="roundRect">
            <a:avLst/>
          </a:prstGeom>
          <a:solidFill>
            <a:schemeClr val="bg1"/>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0" tIns="0" rIns="914400" bIns="0" numCol="1" spcCol="0" rtlCol="0" fromWordArt="0" anchor="ctr" anchorCtr="0" forceAA="0" compatLnSpc="1">
            <a:prstTxWarp prst="textNoShape">
              <a:avLst/>
            </a:prstTxWarp>
            <a:noAutofit/>
          </a:bodyPr>
          <a:lstStyle/>
          <a:p>
            <a:pPr algn="ctr"/>
            <a:r>
              <a:rPr lang="en-US" sz="3200" b="1" dirty="0">
                <a:solidFill>
                  <a:schemeClr val="accent6"/>
                </a:solidFill>
              </a:rPr>
              <a:t>HCF is being deployed today in </a:t>
            </a:r>
            <a:r>
              <a:rPr lang="en-US" sz="3200" b="1" i="1" u="sng" dirty="0">
                <a:solidFill>
                  <a:schemeClr val="accent6"/>
                </a:solidFill>
              </a:rPr>
              <a:t>low latency </a:t>
            </a:r>
            <a:r>
              <a:rPr lang="en-US" sz="3200" b="1" dirty="0">
                <a:solidFill>
                  <a:schemeClr val="accent6"/>
                </a:solidFill>
              </a:rPr>
              <a:t>applications, with multiple field trials in progress</a:t>
            </a:r>
          </a:p>
        </p:txBody>
      </p:sp>
      <p:sp>
        <p:nvSpPr>
          <p:cNvPr id="6" name="Rectangle: Rounded Corners 5">
            <a:extLst>
              <a:ext uri="{FF2B5EF4-FFF2-40B4-BE49-F238E27FC236}">
                <a16:creationId xmlns:a16="http://schemas.microsoft.com/office/drawing/2014/main" id="{B542D573-E78A-2CF1-80C3-4802C22615E3}"/>
              </a:ext>
            </a:extLst>
          </p:cNvPr>
          <p:cNvSpPr/>
          <p:nvPr/>
        </p:nvSpPr>
        <p:spPr>
          <a:xfrm>
            <a:off x="443876" y="2655145"/>
            <a:ext cx="11173289" cy="1229095"/>
          </a:xfrm>
          <a:prstGeom prst="roundRect">
            <a:avLst/>
          </a:prstGeom>
          <a:solidFill>
            <a:schemeClr val="bg1"/>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0" tIns="0" rIns="914400" bIns="0" numCol="1" spcCol="0" rtlCol="0" fromWordArt="0" anchor="ctr" anchorCtr="0" forceAA="0" compatLnSpc="1">
            <a:prstTxWarp prst="textNoShape">
              <a:avLst/>
            </a:prstTxWarp>
            <a:noAutofit/>
          </a:bodyPr>
          <a:lstStyle/>
          <a:p>
            <a:pPr algn="ctr"/>
            <a:r>
              <a:rPr lang="en-US" sz="3200" b="1" dirty="0">
                <a:solidFill>
                  <a:schemeClr val="accent6"/>
                </a:solidFill>
              </a:rPr>
              <a:t>HCF has the future potential to deliver far more fiber capacity with wideband, low nonlinear performance</a:t>
            </a:r>
          </a:p>
        </p:txBody>
      </p:sp>
      <p:sp>
        <p:nvSpPr>
          <p:cNvPr id="7" name="Rectangle: Rounded Corners 6">
            <a:extLst>
              <a:ext uri="{FF2B5EF4-FFF2-40B4-BE49-F238E27FC236}">
                <a16:creationId xmlns:a16="http://schemas.microsoft.com/office/drawing/2014/main" id="{4D11D842-9599-B5CF-4F64-40E875AF88B6}"/>
              </a:ext>
            </a:extLst>
          </p:cNvPr>
          <p:cNvSpPr/>
          <p:nvPr/>
        </p:nvSpPr>
        <p:spPr>
          <a:xfrm>
            <a:off x="443875" y="4188072"/>
            <a:ext cx="11173289" cy="1229095"/>
          </a:xfrm>
          <a:prstGeom prst="roundRect">
            <a:avLst/>
          </a:prstGeom>
          <a:solidFill>
            <a:schemeClr val="bg1"/>
          </a:solid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57200" tIns="0" rIns="457200" bIns="0" numCol="1" spcCol="0" rtlCol="0" fromWordArt="0" anchor="ctr" anchorCtr="0" forceAA="0" compatLnSpc="1">
            <a:prstTxWarp prst="textNoShape">
              <a:avLst/>
            </a:prstTxWarp>
            <a:noAutofit/>
          </a:bodyPr>
          <a:lstStyle/>
          <a:p>
            <a:pPr algn="ctr"/>
            <a:r>
              <a:rPr lang="en-US" sz="3200" b="1" dirty="0">
                <a:solidFill>
                  <a:schemeClr val="accent6"/>
                </a:solidFill>
              </a:rPr>
              <a:t>Between then and now there are quite a few practical challenges with HCF…but most are </a:t>
            </a:r>
            <a:r>
              <a:rPr lang="en-US" sz="3200" b="1" i="1" u="sng" dirty="0">
                <a:solidFill>
                  <a:schemeClr val="accent6"/>
                </a:solidFill>
              </a:rPr>
              <a:t>engineering problems</a:t>
            </a:r>
          </a:p>
        </p:txBody>
      </p:sp>
    </p:spTree>
    <p:extLst>
      <p:ext uri="{BB962C8B-B14F-4D97-AF65-F5344CB8AC3E}">
        <p14:creationId xmlns:p14="http://schemas.microsoft.com/office/powerpoint/2010/main" val="3487918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3B89752-8E77-FAA5-949C-D001AD200EB7}"/>
              </a:ext>
            </a:extLst>
          </p:cNvPr>
          <p:cNvSpPr>
            <a:spLocks noGrp="1"/>
          </p:cNvSpPr>
          <p:nvPr>
            <p:ph type="body" sz="quarter" idx="11"/>
          </p:nvPr>
        </p:nvSpPr>
        <p:spPr>
          <a:xfrm>
            <a:off x="2173956" y="1977888"/>
            <a:ext cx="7844089" cy="2842590"/>
          </a:xfrm>
        </p:spPr>
        <p:txBody>
          <a:bodyPr>
            <a:normAutofit fontScale="85000" lnSpcReduction="20000"/>
          </a:bodyPr>
          <a:lstStyle/>
          <a:p>
            <a:pPr algn="ctr"/>
            <a:r>
              <a:rPr lang="en-US" dirty="0"/>
              <a:t>THANK YOU</a:t>
            </a:r>
          </a:p>
          <a:p>
            <a:pPr algn="ctr"/>
            <a:r>
              <a:rPr lang="en-US" dirty="0"/>
              <a:t>Geoff Bennett</a:t>
            </a:r>
          </a:p>
          <a:p>
            <a:pPr algn="ctr"/>
            <a:r>
              <a:rPr lang="en-US" dirty="0"/>
              <a:t>gbennett@infinera.com</a:t>
            </a:r>
          </a:p>
        </p:txBody>
      </p:sp>
    </p:spTree>
    <p:extLst>
      <p:ext uri="{BB962C8B-B14F-4D97-AF65-F5344CB8AC3E}">
        <p14:creationId xmlns:p14="http://schemas.microsoft.com/office/powerpoint/2010/main" val="302907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BC1D-C036-4735-8EB5-6F75D73C3B1D}"/>
              </a:ext>
            </a:extLst>
          </p:cNvPr>
          <p:cNvSpPr>
            <a:spLocks noGrp="1"/>
          </p:cNvSpPr>
          <p:nvPr>
            <p:ph type="title"/>
          </p:nvPr>
        </p:nvSpPr>
        <p:spPr/>
        <p:txBody>
          <a:bodyPr/>
          <a:lstStyle/>
          <a:p>
            <a:r>
              <a:rPr lang="en-US" dirty="0"/>
              <a:t>If you let signals go everywhere…The inverse square law</a:t>
            </a:r>
          </a:p>
        </p:txBody>
      </p:sp>
      <p:pic>
        <p:nvPicPr>
          <p:cNvPr id="1026" name="Picture 2" descr="Isaac Newton - Wikipedia">
            <a:extLst>
              <a:ext uri="{FF2B5EF4-FFF2-40B4-BE49-F238E27FC236}">
                <a16:creationId xmlns:a16="http://schemas.microsoft.com/office/drawing/2014/main" id="{B6BB5137-9E49-44EF-8B75-A576736D90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4672" y="1362012"/>
            <a:ext cx="2794000" cy="38354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9966C0B-38BA-4C23-AD4D-58C444F93917}"/>
              </a:ext>
            </a:extLst>
          </p:cNvPr>
          <p:cNvSpPr txBox="1"/>
          <p:nvPr/>
        </p:nvSpPr>
        <p:spPr>
          <a:xfrm>
            <a:off x="603184" y="5447890"/>
            <a:ext cx="3850107" cy="830997"/>
          </a:xfrm>
          <a:prstGeom prst="rect">
            <a:avLst/>
          </a:prstGeom>
          <a:noFill/>
        </p:spPr>
        <p:txBody>
          <a:bodyPr wrap="square" rtlCol="0">
            <a:spAutoFit/>
          </a:bodyPr>
          <a:lstStyle/>
          <a:p>
            <a:r>
              <a:rPr lang="en-US" sz="2400" dirty="0"/>
              <a:t>Isaac Newton applied this to gravitational forces, but…</a:t>
            </a:r>
          </a:p>
        </p:txBody>
      </p:sp>
      <p:pic>
        <p:nvPicPr>
          <p:cNvPr id="1028" name="Picture 4" descr="Inverse-square law - Wikipedia">
            <a:extLst>
              <a:ext uri="{FF2B5EF4-FFF2-40B4-BE49-F238E27FC236}">
                <a16:creationId xmlns:a16="http://schemas.microsoft.com/office/drawing/2014/main" id="{F380BB7D-C36F-48CA-A9CB-6B30860955DE}"/>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94788" y="1818142"/>
            <a:ext cx="7212531" cy="48024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2AC1323-0216-42E4-8ABE-4B8B85E1C93E}"/>
              </a:ext>
            </a:extLst>
          </p:cNvPr>
          <p:cNvSpPr txBox="1"/>
          <p:nvPr/>
        </p:nvSpPr>
        <p:spPr>
          <a:xfrm>
            <a:off x="4699652" y="1146256"/>
            <a:ext cx="2365457" cy="1077026"/>
          </a:xfrm>
          <a:prstGeom prst="rect">
            <a:avLst/>
          </a:prstGeom>
          <a:noFill/>
        </p:spPr>
        <p:txBody>
          <a:bodyPr wrap="square" rtlCol="0">
            <a:spAutoFit/>
          </a:bodyPr>
          <a:lstStyle/>
          <a:p>
            <a:r>
              <a:rPr lang="en-US" sz="2133" dirty="0"/>
              <a:t>At distance, r we have an area for this signal of A</a:t>
            </a:r>
          </a:p>
        </p:txBody>
      </p:sp>
      <p:sp>
        <p:nvSpPr>
          <p:cNvPr id="8" name="TextBox 7">
            <a:extLst>
              <a:ext uri="{FF2B5EF4-FFF2-40B4-BE49-F238E27FC236}">
                <a16:creationId xmlns:a16="http://schemas.microsoft.com/office/drawing/2014/main" id="{2EB57997-6C7E-4419-A377-E3C40DE6DBEF}"/>
              </a:ext>
            </a:extLst>
          </p:cNvPr>
          <p:cNvSpPr txBox="1"/>
          <p:nvPr/>
        </p:nvSpPr>
        <p:spPr>
          <a:xfrm>
            <a:off x="7085949" y="1582441"/>
            <a:ext cx="2052841" cy="748795"/>
          </a:xfrm>
          <a:prstGeom prst="rect">
            <a:avLst/>
          </a:prstGeom>
          <a:noFill/>
        </p:spPr>
        <p:txBody>
          <a:bodyPr wrap="square" rtlCol="0">
            <a:spAutoFit/>
          </a:bodyPr>
          <a:lstStyle/>
          <a:p>
            <a:r>
              <a:rPr lang="en-US" sz="2133" dirty="0"/>
              <a:t>At distance 2r the area is 4A</a:t>
            </a:r>
          </a:p>
        </p:txBody>
      </p:sp>
      <p:sp>
        <p:nvSpPr>
          <p:cNvPr id="9" name="TextBox 8">
            <a:extLst>
              <a:ext uri="{FF2B5EF4-FFF2-40B4-BE49-F238E27FC236}">
                <a16:creationId xmlns:a16="http://schemas.microsoft.com/office/drawing/2014/main" id="{027E53BD-1238-490C-98B6-232EAF08A118}"/>
              </a:ext>
            </a:extLst>
          </p:cNvPr>
          <p:cNvSpPr txBox="1"/>
          <p:nvPr/>
        </p:nvSpPr>
        <p:spPr>
          <a:xfrm>
            <a:off x="9264488" y="2066829"/>
            <a:ext cx="2052841" cy="748795"/>
          </a:xfrm>
          <a:prstGeom prst="rect">
            <a:avLst/>
          </a:prstGeom>
          <a:noFill/>
        </p:spPr>
        <p:txBody>
          <a:bodyPr wrap="square" rtlCol="0">
            <a:spAutoFit/>
          </a:bodyPr>
          <a:lstStyle/>
          <a:p>
            <a:r>
              <a:rPr lang="en-US" sz="2133" dirty="0"/>
              <a:t>And at distance 3r the area is 9A</a:t>
            </a:r>
          </a:p>
        </p:txBody>
      </p:sp>
      <p:sp>
        <p:nvSpPr>
          <p:cNvPr id="6" name="Rectangle: Rounded Corners 5">
            <a:extLst>
              <a:ext uri="{FF2B5EF4-FFF2-40B4-BE49-F238E27FC236}">
                <a16:creationId xmlns:a16="http://schemas.microsoft.com/office/drawing/2014/main" id="{3CF37C3F-7018-4A78-99DE-5F5B6E1075C9}"/>
              </a:ext>
            </a:extLst>
          </p:cNvPr>
          <p:cNvSpPr/>
          <p:nvPr/>
        </p:nvSpPr>
        <p:spPr>
          <a:xfrm>
            <a:off x="4530436" y="2890821"/>
            <a:ext cx="4528541" cy="1752170"/>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2800" dirty="0"/>
              <a:t>The strength of the signal is </a:t>
            </a:r>
            <a:r>
              <a:rPr lang="en-US" sz="2800" b="1" i="1" dirty="0">
                <a:solidFill>
                  <a:schemeClr val="accent3"/>
                </a:solidFill>
              </a:rPr>
              <a:t>inversely</a:t>
            </a:r>
            <a:r>
              <a:rPr lang="en-US" sz="2800" dirty="0"/>
              <a:t> proportional to the </a:t>
            </a:r>
            <a:r>
              <a:rPr lang="en-US" sz="2800" b="1" i="1" dirty="0">
                <a:solidFill>
                  <a:schemeClr val="accent3"/>
                </a:solidFill>
              </a:rPr>
              <a:t>square</a:t>
            </a:r>
            <a:r>
              <a:rPr lang="en-US" sz="2800" dirty="0"/>
              <a:t> of the distance</a:t>
            </a:r>
          </a:p>
        </p:txBody>
      </p:sp>
    </p:spTree>
    <p:extLst>
      <p:ext uri="{BB962C8B-B14F-4D97-AF65-F5344CB8AC3E}">
        <p14:creationId xmlns:p14="http://schemas.microsoft.com/office/powerpoint/2010/main" val="362325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wipe(left)">
                                      <p:cBhvr>
                                        <p:cTn id="7" dur="500"/>
                                        <p:tgtEl>
                                          <p:spTgt spid="10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p:cTn id="24" dur="500" fill="hold"/>
                                        <p:tgtEl>
                                          <p:spTgt spid="6"/>
                                        </p:tgtEl>
                                        <p:attrNameLst>
                                          <p:attrName>ppt_w</p:attrName>
                                        </p:attrNameLst>
                                      </p:cBhvr>
                                      <p:tavLst>
                                        <p:tav tm="0">
                                          <p:val>
                                            <p:fltVal val="0"/>
                                          </p:val>
                                        </p:tav>
                                        <p:tav tm="100000">
                                          <p:val>
                                            <p:strVal val="#ppt_w"/>
                                          </p:val>
                                        </p:tav>
                                      </p:tavLst>
                                    </p:anim>
                                    <p:anim calcmode="lin" valueType="num">
                                      <p:cBhvr>
                                        <p:cTn id="25" dur="500" fill="hold"/>
                                        <p:tgtEl>
                                          <p:spTgt spid="6"/>
                                        </p:tgtEl>
                                        <p:attrNameLst>
                                          <p:attrName>ppt_h</p:attrName>
                                        </p:attrNameLst>
                                      </p:cBhvr>
                                      <p:tavLst>
                                        <p:tav tm="0">
                                          <p:val>
                                            <p:fltVal val="0"/>
                                          </p:val>
                                        </p:tav>
                                        <p:tav tm="100000">
                                          <p:val>
                                            <p:strVal val="#ppt_h"/>
                                          </p:val>
                                        </p:tav>
                                      </p:tavLst>
                                    </p:anim>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9" grpId="0"/>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C571B9-AD00-4C85-CC3B-131CA1366439}"/>
              </a:ext>
            </a:extLst>
          </p:cNvPr>
          <p:cNvSpPr>
            <a:spLocks noGrp="1"/>
          </p:cNvSpPr>
          <p:nvPr>
            <p:ph type="body" sz="quarter" idx="11"/>
          </p:nvPr>
        </p:nvSpPr>
        <p:spPr>
          <a:xfrm>
            <a:off x="2173956" y="2082800"/>
            <a:ext cx="7844089" cy="1954045"/>
          </a:xfrm>
        </p:spPr>
        <p:txBody>
          <a:bodyPr>
            <a:normAutofit fontScale="92500" lnSpcReduction="10000"/>
          </a:bodyPr>
          <a:lstStyle/>
          <a:p>
            <a:pPr algn="ctr"/>
            <a:r>
              <a:rPr lang="en-US" dirty="0"/>
              <a:t>How to create an </a:t>
            </a:r>
            <a:r>
              <a:rPr lang="en-US" i="1" dirty="0"/>
              <a:t>optical waveguide</a:t>
            </a:r>
          </a:p>
        </p:txBody>
      </p:sp>
    </p:spTree>
    <p:extLst>
      <p:ext uri="{BB962C8B-B14F-4D97-AF65-F5344CB8AC3E}">
        <p14:creationId xmlns:p14="http://schemas.microsoft.com/office/powerpoint/2010/main" val="242509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D4F2D42E-F4B6-4E51-9090-CEA80DF7BA3A}"/>
              </a:ext>
            </a:extLst>
          </p:cNvPr>
          <p:cNvSpPr/>
          <p:nvPr/>
        </p:nvSpPr>
        <p:spPr>
          <a:xfrm>
            <a:off x="4052888" y="2775645"/>
            <a:ext cx="6999428" cy="159024"/>
          </a:xfrm>
          <a:custGeom>
            <a:avLst/>
            <a:gdLst>
              <a:gd name="connsiteX0" fmla="*/ 0 w 7563678"/>
              <a:gd name="connsiteY0" fmla="*/ 208739 h 533940"/>
              <a:gd name="connsiteX1" fmla="*/ 1659835 w 7563678"/>
              <a:gd name="connsiteY1" fmla="*/ 9956 h 533940"/>
              <a:gd name="connsiteX2" fmla="*/ 3289852 w 7563678"/>
              <a:gd name="connsiteY2" fmla="*/ 457217 h 533940"/>
              <a:gd name="connsiteX3" fmla="*/ 4949687 w 7563678"/>
              <a:gd name="connsiteY3" fmla="*/ 17 h 533940"/>
              <a:gd name="connsiteX4" fmla="*/ 6599582 w 7563678"/>
              <a:gd name="connsiteY4" fmla="*/ 477096 h 533940"/>
              <a:gd name="connsiteX5" fmla="*/ 7563678 w 7563678"/>
              <a:gd name="connsiteY5" fmla="*/ 506913 h 533940"/>
              <a:gd name="connsiteX0" fmla="*/ 0 w 7573617"/>
              <a:gd name="connsiteY0" fmla="*/ 208739 h 559667"/>
              <a:gd name="connsiteX1" fmla="*/ 1659835 w 7573617"/>
              <a:gd name="connsiteY1" fmla="*/ 9956 h 559667"/>
              <a:gd name="connsiteX2" fmla="*/ 3289852 w 7573617"/>
              <a:gd name="connsiteY2" fmla="*/ 457217 h 559667"/>
              <a:gd name="connsiteX3" fmla="*/ 4949687 w 7573617"/>
              <a:gd name="connsiteY3" fmla="*/ 17 h 559667"/>
              <a:gd name="connsiteX4" fmla="*/ 6599582 w 7573617"/>
              <a:gd name="connsiteY4" fmla="*/ 477096 h 559667"/>
              <a:gd name="connsiteX5" fmla="*/ 7573617 w 7573617"/>
              <a:gd name="connsiteY5" fmla="*/ 546669 h 559667"/>
              <a:gd name="connsiteX0" fmla="*/ 0 w 7573617"/>
              <a:gd name="connsiteY0" fmla="*/ 208739 h 559667"/>
              <a:gd name="connsiteX1" fmla="*/ 1659835 w 7573617"/>
              <a:gd name="connsiteY1" fmla="*/ 9956 h 559667"/>
              <a:gd name="connsiteX2" fmla="*/ 3289852 w 7573617"/>
              <a:gd name="connsiteY2" fmla="*/ 457217 h 559667"/>
              <a:gd name="connsiteX3" fmla="*/ 4949687 w 7573617"/>
              <a:gd name="connsiteY3" fmla="*/ 17 h 559667"/>
              <a:gd name="connsiteX4" fmla="*/ 6599582 w 7573617"/>
              <a:gd name="connsiteY4" fmla="*/ 477096 h 559667"/>
              <a:gd name="connsiteX5" fmla="*/ 7573617 w 7573617"/>
              <a:gd name="connsiteY5" fmla="*/ 546669 h 559667"/>
              <a:gd name="connsiteX0" fmla="*/ 0 w 7573617"/>
              <a:gd name="connsiteY0" fmla="*/ 208739 h 555279"/>
              <a:gd name="connsiteX1" fmla="*/ 1659835 w 7573617"/>
              <a:gd name="connsiteY1" fmla="*/ 9956 h 555279"/>
              <a:gd name="connsiteX2" fmla="*/ 3289852 w 7573617"/>
              <a:gd name="connsiteY2" fmla="*/ 457217 h 555279"/>
              <a:gd name="connsiteX3" fmla="*/ 4949687 w 7573617"/>
              <a:gd name="connsiteY3" fmla="*/ 17 h 555279"/>
              <a:gd name="connsiteX4" fmla="*/ 6599582 w 7573617"/>
              <a:gd name="connsiteY4" fmla="*/ 477096 h 555279"/>
              <a:gd name="connsiteX5" fmla="*/ 7573617 w 7573617"/>
              <a:gd name="connsiteY5" fmla="*/ 546669 h 55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3617" h="555279">
                <a:moveTo>
                  <a:pt x="0" y="208739"/>
                </a:moveTo>
                <a:cubicBezTo>
                  <a:pt x="555763" y="88641"/>
                  <a:pt x="1111526" y="-31457"/>
                  <a:pt x="1659835" y="9956"/>
                </a:cubicBezTo>
                <a:cubicBezTo>
                  <a:pt x="2208144" y="51369"/>
                  <a:pt x="2741543" y="458873"/>
                  <a:pt x="3289852" y="457217"/>
                </a:cubicBezTo>
                <a:cubicBezTo>
                  <a:pt x="3838161" y="455561"/>
                  <a:pt x="4398065" y="-3296"/>
                  <a:pt x="4949687" y="17"/>
                </a:cubicBezTo>
                <a:cubicBezTo>
                  <a:pt x="5501309" y="3330"/>
                  <a:pt x="6163917" y="392613"/>
                  <a:pt x="6599582" y="477096"/>
                </a:cubicBezTo>
                <a:cubicBezTo>
                  <a:pt x="7035247" y="561579"/>
                  <a:pt x="7011228" y="564063"/>
                  <a:pt x="7573617" y="546669"/>
                </a:cubicBezTo>
              </a:path>
            </a:pathLst>
          </a:custGeom>
          <a:noFill/>
          <a:ln w="12700">
            <a:solidFill>
              <a:schemeClr val="tx1"/>
            </a:solidFill>
            <a:headEnd type="none" w="med" len="med"/>
            <a:tailEnd type="arrow"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45442" name="Group 2"/>
          <p:cNvGrpSpPr>
            <a:grpSpLocks/>
          </p:cNvGrpSpPr>
          <p:nvPr/>
        </p:nvGrpSpPr>
        <p:grpSpPr bwMode="auto">
          <a:xfrm>
            <a:off x="4344989" y="2041526"/>
            <a:ext cx="5716587" cy="1587500"/>
            <a:chOff x="1777" y="1286"/>
            <a:chExt cx="3601" cy="1000"/>
          </a:xfrm>
        </p:grpSpPr>
        <p:sp>
          <p:nvSpPr>
            <p:cNvPr id="445443" name="Rectangle 3"/>
            <p:cNvSpPr>
              <a:spLocks noChangeArrowheads="1"/>
            </p:cNvSpPr>
            <p:nvPr/>
          </p:nvSpPr>
          <p:spPr bwMode="auto">
            <a:xfrm>
              <a:off x="1777" y="1646"/>
              <a:ext cx="3601" cy="280"/>
            </a:xfrm>
            <a:prstGeom prst="rect">
              <a:avLst/>
            </a:prstGeom>
            <a:noFill/>
            <a:ln w="12700">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2400"/>
            </a:p>
          </p:txBody>
        </p:sp>
        <p:sp>
          <p:nvSpPr>
            <p:cNvPr id="445444" name="Rectangle 4"/>
            <p:cNvSpPr>
              <a:spLocks noChangeArrowheads="1"/>
            </p:cNvSpPr>
            <p:nvPr/>
          </p:nvSpPr>
          <p:spPr bwMode="auto">
            <a:xfrm>
              <a:off x="1777" y="1286"/>
              <a:ext cx="3601" cy="1000"/>
            </a:xfrm>
            <a:prstGeom prst="rect">
              <a:avLst/>
            </a:prstGeom>
            <a:noFill/>
            <a:ln w="12700">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2400"/>
            </a:p>
          </p:txBody>
        </p:sp>
      </p:grpSp>
      <p:sp>
        <p:nvSpPr>
          <p:cNvPr id="445445" name="Rectangle 5"/>
          <p:cNvSpPr>
            <a:spLocks noGrp="1" noChangeArrowheads="1"/>
          </p:cNvSpPr>
          <p:nvPr>
            <p:ph type="title"/>
          </p:nvPr>
        </p:nvSpPr>
        <p:spPr>
          <a:noFill/>
          <a:ln/>
        </p:spPr>
        <p:txBody>
          <a:bodyPr/>
          <a:lstStyle/>
          <a:p>
            <a:r>
              <a:rPr lang="en-GB" altLang="en-US" dirty="0"/>
              <a:t>How Does Optical Fibre Work?</a:t>
            </a:r>
          </a:p>
        </p:txBody>
      </p:sp>
      <p:grpSp>
        <p:nvGrpSpPr>
          <p:cNvPr id="445446" name="Group 6"/>
          <p:cNvGrpSpPr>
            <a:grpSpLocks/>
          </p:cNvGrpSpPr>
          <p:nvPr/>
        </p:nvGrpSpPr>
        <p:grpSpPr bwMode="auto">
          <a:xfrm>
            <a:off x="2330451" y="2035175"/>
            <a:ext cx="1630363" cy="1601788"/>
            <a:chOff x="508" y="1282"/>
            <a:chExt cx="1027" cy="1009"/>
          </a:xfrm>
        </p:grpSpPr>
        <p:grpSp>
          <p:nvGrpSpPr>
            <p:cNvPr id="445447" name="Group 7"/>
            <p:cNvGrpSpPr>
              <a:grpSpLocks/>
            </p:cNvGrpSpPr>
            <p:nvPr/>
          </p:nvGrpSpPr>
          <p:grpSpPr bwMode="auto">
            <a:xfrm>
              <a:off x="508" y="1282"/>
              <a:ext cx="1027" cy="1009"/>
              <a:chOff x="508" y="1282"/>
              <a:chExt cx="1027" cy="1009"/>
            </a:xfrm>
          </p:grpSpPr>
          <p:sp>
            <p:nvSpPr>
              <p:cNvPr id="445448" name="Oval 8"/>
              <p:cNvSpPr>
                <a:spLocks noChangeArrowheads="1"/>
              </p:cNvSpPr>
              <p:nvPr/>
            </p:nvSpPr>
            <p:spPr bwMode="auto">
              <a:xfrm>
                <a:off x="886" y="1651"/>
                <a:ext cx="271" cy="271"/>
              </a:xfrm>
              <a:prstGeom prst="ellipse">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2800"/>
              </a:p>
            </p:txBody>
          </p:sp>
          <p:sp>
            <p:nvSpPr>
              <p:cNvPr id="445449" name="Oval 9"/>
              <p:cNvSpPr>
                <a:spLocks noChangeArrowheads="1"/>
              </p:cNvSpPr>
              <p:nvPr/>
            </p:nvSpPr>
            <p:spPr bwMode="auto">
              <a:xfrm>
                <a:off x="508" y="1282"/>
                <a:ext cx="1027" cy="1009"/>
              </a:xfrm>
              <a:prstGeom prst="ellipse">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2400"/>
              </a:p>
            </p:txBody>
          </p:sp>
        </p:grpSp>
        <p:sp>
          <p:nvSpPr>
            <p:cNvPr id="445450" name="Rectangle 10"/>
            <p:cNvSpPr>
              <a:spLocks noChangeArrowheads="1"/>
            </p:cNvSpPr>
            <p:nvPr/>
          </p:nvSpPr>
          <p:spPr bwMode="auto">
            <a:xfrm>
              <a:off x="712" y="1427"/>
              <a:ext cx="646" cy="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1" rIns="90488" bIns="44451">
              <a:spAutoFit/>
            </a:bodyPr>
            <a:lstStyle>
              <a:lvl1pPr marL="342900" indent="-342900" defTabSz="762000">
                <a:defRPr sz="2400">
                  <a:solidFill>
                    <a:schemeClr val="tx1"/>
                  </a:solidFill>
                  <a:latin typeface="Times New Roman" panose="02020603050405020304" pitchFamily="18" charset="0"/>
                </a:defRPr>
              </a:lvl1pPr>
              <a:lvl2pPr marL="742950" indent="-285750" defTabSz="762000">
                <a:defRPr sz="2400">
                  <a:solidFill>
                    <a:schemeClr val="tx1"/>
                  </a:solidFill>
                  <a:latin typeface="Times New Roman" panose="02020603050405020304" pitchFamily="18" charset="0"/>
                </a:defRPr>
              </a:lvl2pPr>
              <a:lvl3pPr marL="1143000" indent="-228600" defTabSz="762000">
                <a:defRPr sz="2400">
                  <a:solidFill>
                    <a:schemeClr val="tx1"/>
                  </a:solidFill>
                  <a:latin typeface="Times New Roman" panose="02020603050405020304" pitchFamily="18" charset="0"/>
                </a:defRPr>
              </a:lvl3pPr>
              <a:lvl4pPr marL="1600200" indent="-228600" defTabSz="762000">
                <a:defRPr sz="2400">
                  <a:solidFill>
                    <a:schemeClr val="tx1"/>
                  </a:solidFill>
                  <a:latin typeface="Times New Roman" panose="02020603050405020304" pitchFamily="18" charset="0"/>
                </a:defRPr>
              </a:lvl4pPr>
              <a:lvl5pPr marL="2057400" indent="-228600" defTabSz="762000">
                <a:defRPr sz="2400">
                  <a:solidFill>
                    <a:schemeClr val="tx1"/>
                  </a:solidFill>
                  <a:latin typeface="Times New Roman" panose="02020603050405020304" pitchFamily="18" charset="0"/>
                </a:defRPr>
              </a:lvl5pPr>
              <a:lvl6pPr marL="2514600" indent="-228600" defTabSz="762000" fontAlgn="base">
                <a:spcBef>
                  <a:spcPct val="0"/>
                </a:spcBef>
                <a:spcAft>
                  <a:spcPct val="0"/>
                </a:spcAft>
                <a:defRPr sz="2400">
                  <a:solidFill>
                    <a:schemeClr val="tx1"/>
                  </a:solidFill>
                  <a:latin typeface="Times New Roman" panose="02020603050405020304" pitchFamily="18" charset="0"/>
                </a:defRPr>
              </a:lvl6pPr>
              <a:lvl7pPr marL="2971800" indent="-228600" defTabSz="762000" fontAlgn="base">
                <a:spcBef>
                  <a:spcPct val="0"/>
                </a:spcBef>
                <a:spcAft>
                  <a:spcPct val="0"/>
                </a:spcAft>
                <a:defRPr sz="2400">
                  <a:solidFill>
                    <a:schemeClr val="tx1"/>
                  </a:solidFill>
                  <a:latin typeface="Times New Roman" panose="02020603050405020304" pitchFamily="18" charset="0"/>
                </a:defRPr>
              </a:lvl7pPr>
              <a:lvl8pPr marL="3429000" indent="-228600" defTabSz="762000" fontAlgn="base">
                <a:spcBef>
                  <a:spcPct val="0"/>
                </a:spcBef>
                <a:spcAft>
                  <a:spcPct val="0"/>
                </a:spcAft>
                <a:defRPr sz="2400">
                  <a:solidFill>
                    <a:schemeClr val="tx1"/>
                  </a:solidFill>
                  <a:latin typeface="Times New Roman" panose="02020603050405020304" pitchFamily="18" charset="0"/>
                </a:defRPr>
              </a:lvl8pPr>
              <a:lvl9pPr marL="3886200" indent="-228600" defTabSz="762000" fontAlgn="base">
                <a:spcBef>
                  <a:spcPct val="0"/>
                </a:spcBef>
                <a:spcAft>
                  <a:spcPct val="0"/>
                </a:spcAft>
                <a:defRPr sz="2400">
                  <a:solidFill>
                    <a:schemeClr val="tx1"/>
                  </a:solidFill>
                  <a:latin typeface="Times New Roman" panose="02020603050405020304" pitchFamily="18" charset="0"/>
                </a:defRPr>
              </a:lvl9pPr>
            </a:lstStyle>
            <a:p>
              <a:pPr algn="ctr" eaLnBrk="0" hangingPunct="0">
                <a:spcBef>
                  <a:spcPct val="50000"/>
                </a:spcBef>
              </a:pPr>
              <a:r>
                <a:rPr lang="en-GB" altLang="en-US" sz="1100" b="1" dirty="0">
                  <a:solidFill>
                    <a:schemeClr val="tx2"/>
                  </a:solidFill>
                  <a:latin typeface="Arial" panose="020B0604020202020204" pitchFamily="34" charset="0"/>
                </a:rPr>
                <a:t>Cladding</a:t>
              </a:r>
            </a:p>
          </p:txBody>
        </p:sp>
        <p:sp>
          <p:nvSpPr>
            <p:cNvPr id="445451" name="Rectangle 11"/>
            <p:cNvSpPr>
              <a:spLocks noChangeArrowheads="1"/>
            </p:cNvSpPr>
            <p:nvPr/>
          </p:nvSpPr>
          <p:spPr bwMode="auto">
            <a:xfrm>
              <a:off x="696" y="1707"/>
              <a:ext cx="646"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1" rIns="90488" bIns="44451">
              <a:spAutoFit/>
            </a:bodyPr>
            <a:lstStyle>
              <a:lvl1pPr marL="342900" indent="-342900" defTabSz="762000">
                <a:defRPr sz="2400">
                  <a:solidFill>
                    <a:schemeClr val="tx1"/>
                  </a:solidFill>
                  <a:latin typeface="Times New Roman" panose="02020603050405020304" pitchFamily="18" charset="0"/>
                </a:defRPr>
              </a:lvl1pPr>
              <a:lvl2pPr marL="742950" indent="-285750" defTabSz="762000">
                <a:defRPr sz="2400">
                  <a:solidFill>
                    <a:schemeClr val="tx1"/>
                  </a:solidFill>
                  <a:latin typeface="Times New Roman" panose="02020603050405020304" pitchFamily="18" charset="0"/>
                </a:defRPr>
              </a:lvl2pPr>
              <a:lvl3pPr marL="1143000" indent="-228600" defTabSz="762000">
                <a:defRPr sz="2400">
                  <a:solidFill>
                    <a:schemeClr val="tx1"/>
                  </a:solidFill>
                  <a:latin typeface="Times New Roman" panose="02020603050405020304" pitchFamily="18" charset="0"/>
                </a:defRPr>
              </a:lvl3pPr>
              <a:lvl4pPr marL="1600200" indent="-228600" defTabSz="762000">
                <a:defRPr sz="2400">
                  <a:solidFill>
                    <a:schemeClr val="tx1"/>
                  </a:solidFill>
                  <a:latin typeface="Times New Roman" panose="02020603050405020304" pitchFamily="18" charset="0"/>
                </a:defRPr>
              </a:lvl4pPr>
              <a:lvl5pPr marL="2057400" indent="-228600" defTabSz="762000">
                <a:defRPr sz="2400">
                  <a:solidFill>
                    <a:schemeClr val="tx1"/>
                  </a:solidFill>
                  <a:latin typeface="Times New Roman" panose="02020603050405020304" pitchFamily="18" charset="0"/>
                </a:defRPr>
              </a:lvl5pPr>
              <a:lvl6pPr marL="2514600" indent="-228600" defTabSz="762000" fontAlgn="base">
                <a:spcBef>
                  <a:spcPct val="0"/>
                </a:spcBef>
                <a:spcAft>
                  <a:spcPct val="0"/>
                </a:spcAft>
                <a:defRPr sz="2400">
                  <a:solidFill>
                    <a:schemeClr val="tx1"/>
                  </a:solidFill>
                  <a:latin typeface="Times New Roman" panose="02020603050405020304" pitchFamily="18" charset="0"/>
                </a:defRPr>
              </a:lvl6pPr>
              <a:lvl7pPr marL="2971800" indent="-228600" defTabSz="762000" fontAlgn="base">
                <a:spcBef>
                  <a:spcPct val="0"/>
                </a:spcBef>
                <a:spcAft>
                  <a:spcPct val="0"/>
                </a:spcAft>
                <a:defRPr sz="2400">
                  <a:solidFill>
                    <a:schemeClr val="tx1"/>
                  </a:solidFill>
                  <a:latin typeface="Times New Roman" panose="02020603050405020304" pitchFamily="18" charset="0"/>
                </a:defRPr>
              </a:lvl7pPr>
              <a:lvl8pPr marL="3429000" indent="-228600" defTabSz="762000" fontAlgn="base">
                <a:spcBef>
                  <a:spcPct val="0"/>
                </a:spcBef>
                <a:spcAft>
                  <a:spcPct val="0"/>
                </a:spcAft>
                <a:defRPr sz="2400">
                  <a:solidFill>
                    <a:schemeClr val="tx1"/>
                  </a:solidFill>
                  <a:latin typeface="Times New Roman" panose="02020603050405020304" pitchFamily="18" charset="0"/>
                </a:defRPr>
              </a:lvl8pPr>
              <a:lvl9pPr marL="3886200" indent="-228600" defTabSz="762000" fontAlgn="base">
                <a:spcBef>
                  <a:spcPct val="0"/>
                </a:spcBef>
                <a:spcAft>
                  <a:spcPct val="0"/>
                </a:spcAft>
                <a:defRPr sz="2400">
                  <a:solidFill>
                    <a:schemeClr val="tx1"/>
                  </a:solidFill>
                  <a:latin typeface="Times New Roman" panose="02020603050405020304" pitchFamily="18" charset="0"/>
                </a:defRPr>
              </a:lvl9pPr>
            </a:lstStyle>
            <a:p>
              <a:pPr algn="ctr" eaLnBrk="0" hangingPunct="0">
                <a:spcBef>
                  <a:spcPct val="50000"/>
                </a:spcBef>
              </a:pPr>
              <a:r>
                <a:rPr lang="en-GB" altLang="en-US" sz="1200" b="1" dirty="0">
                  <a:solidFill>
                    <a:schemeClr val="tx2"/>
                  </a:solidFill>
                  <a:latin typeface="Arial" panose="020B0604020202020204" pitchFamily="34" charset="0"/>
                </a:rPr>
                <a:t>Core</a:t>
              </a:r>
            </a:p>
          </p:txBody>
        </p:sp>
      </p:grpSp>
      <p:grpSp>
        <p:nvGrpSpPr>
          <p:cNvPr id="6" name="Group 5">
            <a:extLst>
              <a:ext uri="{FF2B5EF4-FFF2-40B4-BE49-F238E27FC236}">
                <a16:creationId xmlns:a16="http://schemas.microsoft.com/office/drawing/2014/main" id="{24322039-62B2-4F49-A5CE-D6B5C5C51298}"/>
              </a:ext>
            </a:extLst>
          </p:cNvPr>
          <p:cNvGrpSpPr/>
          <p:nvPr/>
        </p:nvGrpSpPr>
        <p:grpSpPr>
          <a:xfrm>
            <a:off x="596349" y="2847976"/>
            <a:ext cx="3785151" cy="2981324"/>
            <a:chOff x="596349" y="2847976"/>
            <a:chExt cx="3785151" cy="2981324"/>
          </a:xfrm>
        </p:grpSpPr>
        <p:sp>
          <p:nvSpPr>
            <p:cNvPr id="445452" name="Line 12"/>
            <p:cNvSpPr>
              <a:spLocks noChangeShapeType="1"/>
            </p:cNvSpPr>
            <p:nvPr/>
          </p:nvSpPr>
          <p:spPr bwMode="auto">
            <a:xfrm flipH="1">
              <a:off x="2305051" y="2857501"/>
              <a:ext cx="4763" cy="2962275"/>
            </a:xfrm>
            <a:prstGeom prst="line">
              <a:avLst/>
            </a:prstGeom>
            <a:noFill/>
            <a:ln w="1270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grpSp>
          <p:nvGrpSpPr>
            <p:cNvPr id="445453" name="Group 13"/>
            <p:cNvGrpSpPr>
              <a:grpSpLocks/>
            </p:cNvGrpSpPr>
            <p:nvPr/>
          </p:nvGrpSpPr>
          <p:grpSpPr bwMode="auto">
            <a:xfrm>
              <a:off x="2195513" y="4286251"/>
              <a:ext cx="2185987" cy="1528763"/>
              <a:chOff x="423" y="2700"/>
              <a:chExt cx="1377" cy="963"/>
            </a:xfrm>
          </p:grpSpPr>
          <p:sp>
            <p:nvSpPr>
              <p:cNvPr id="445454" name="Line 14"/>
              <p:cNvSpPr>
                <a:spLocks noChangeShapeType="1"/>
              </p:cNvSpPr>
              <p:nvPr/>
            </p:nvSpPr>
            <p:spPr bwMode="auto">
              <a:xfrm>
                <a:off x="423" y="2700"/>
                <a:ext cx="0" cy="963"/>
              </a:xfrm>
              <a:prstGeom prst="line">
                <a:avLst/>
              </a:prstGeom>
              <a:noFill/>
              <a:ln w="12700">
                <a:solidFill>
                  <a:schemeClr val="tx2"/>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sp>
            <p:nvSpPr>
              <p:cNvPr id="445455" name="Line 15"/>
              <p:cNvSpPr>
                <a:spLocks noChangeShapeType="1"/>
              </p:cNvSpPr>
              <p:nvPr/>
            </p:nvSpPr>
            <p:spPr bwMode="auto">
              <a:xfrm>
                <a:off x="432" y="3654"/>
                <a:ext cx="1368" cy="0"/>
              </a:xfrm>
              <a:prstGeom prst="line">
                <a:avLst/>
              </a:prstGeom>
              <a:noFill/>
              <a:ln w="127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grpSp>
        <p:sp>
          <p:nvSpPr>
            <p:cNvPr id="445456" name="Rectangle 16"/>
            <p:cNvSpPr>
              <a:spLocks noChangeArrowheads="1"/>
            </p:cNvSpPr>
            <p:nvPr/>
          </p:nvSpPr>
          <p:spPr bwMode="auto">
            <a:xfrm>
              <a:off x="596349" y="4727728"/>
              <a:ext cx="1747597" cy="643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1" rIns="90488" bIns="44451">
              <a:spAutoFit/>
            </a:bodyPr>
            <a:lstStyle>
              <a:lvl1pPr defTabSz="762000">
                <a:defRPr sz="2400">
                  <a:solidFill>
                    <a:schemeClr val="tx1"/>
                  </a:solidFill>
                  <a:latin typeface="Times New Roman" panose="02020603050405020304" pitchFamily="18" charset="0"/>
                </a:defRPr>
              </a:lvl1pPr>
              <a:lvl2pPr marL="819150" indent="-285750" defTabSz="762000">
                <a:defRPr sz="2400">
                  <a:solidFill>
                    <a:schemeClr val="tx1"/>
                  </a:solidFill>
                  <a:latin typeface="Times New Roman" panose="02020603050405020304" pitchFamily="18" charset="0"/>
                </a:defRPr>
              </a:lvl2pPr>
              <a:lvl3pPr marL="1238250" indent="-228600" defTabSz="762000">
                <a:defRPr sz="2400">
                  <a:solidFill>
                    <a:schemeClr val="tx1"/>
                  </a:solidFill>
                  <a:latin typeface="Times New Roman" panose="02020603050405020304" pitchFamily="18" charset="0"/>
                </a:defRPr>
              </a:lvl3pPr>
              <a:lvl4pPr marL="1657350" indent="-228600" defTabSz="762000">
                <a:defRPr sz="2400">
                  <a:solidFill>
                    <a:schemeClr val="tx1"/>
                  </a:solidFill>
                  <a:latin typeface="Times New Roman" panose="02020603050405020304" pitchFamily="18" charset="0"/>
                </a:defRPr>
              </a:lvl4pPr>
              <a:lvl5pPr marL="2076450" indent="-228600" defTabSz="762000">
                <a:defRPr sz="2400">
                  <a:solidFill>
                    <a:schemeClr val="tx1"/>
                  </a:solidFill>
                  <a:latin typeface="Times New Roman" panose="02020603050405020304" pitchFamily="18" charset="0"/>
                </a:defRPr>
              </a:lvl5pPr>
              <a:lvl6pPr marL="2533650" indent="-228600" defTabSz="762000" fontAlgn="base">
                <a:spcBef>
                  <a:spcPct val="0"/>
                </a:spcBef>
                <a:spcAft>
                  <a:spcPct val="0"/>
                </a:spcAft>
                <a:defRPr sz="2400">
                  <a:solidFill>
                    <a:schemeClr val="tx1"/>
                  </a:solidFill>
                  <a:latin typeface="Times New Roman" panose="02020603050405020304" pitchFamily="18" charset="0"/>
                </a:defRPr>
              </a:lvl6pPr>
              <a:lvl7pPr marL="2990850" indent="-228600" defTabSz="762000" fontAlgn="base">
                <a:spcBef>
                  <a:spcPct val="0"/>
                </a:spcBef>
                <a:spcAft>
                  <a:spcPct val="0"/>
                </a:spcAft>
                <a:defRPr sz="2400">
                  <a:solidFill>
                    <a:schemeClr val="tx1"/>
                  </a:solidFill>
                  <a:latin typeface="Times New Roman" panose="02020603050405020304" pitchFamily="18" charset="0"/>
                </a:defRPr>
              </a:lvl7pPr>
              <a:lvl8pPr marL="3448050" indent="-228600" defTabSz="762000" fontAlgn="base">
                <a:spcBef>
                  <a:spcPct val="0"/>
                </a:spcBef>
                <a:spcAft>
                  <a:spcPct val="0"/>
                </a:spcAft>
                <a:defRPr sz="2400">
                  <a:solidFill>
                    <a:schemeClr val="tx1"/>
                  </a:solidFill>
                  <a:latin typeface="Times New Roman" panose="02020603050405020304" pitchFamily="18" charset="0"/>
                </a:defRPr>
              </a:lvl8pPr>
              <a:lvl9pPr marL="3905250" indent="-228600" defTabSz="762000" fontAlgn="base">
                <a:spcBef>
                  <a:spcPct val="0"/>
                </a:spcBef>
                <a:spcAft>
                  <a:spcPct val="0"/>
                </a:spcAft>
                <a:defRPr sz="2400">
                  <a:solidFill>
                    <a:schemeClr val="tx1"/>
                  </a:solidFill>
                  <a:latin typeface="Times New Roman" panose="02020603050405020304" pitchFamily="18" charset="0"/>
                </a:defRPr>
              </a:lvl9pPr>
            </a:lstStyle>
            <a:p>
              <a:pPr algn="ctr" eaLnBrk="0" hangingPunct="0"/>
              <a:r>
                <a:rPr lang="en-GB" altLang="en-US" sz="1800" b="1" dirty="0">
                  <a:solidFill>
                    <a:schemeClr val="tx2"/>
                  </a:solidFill>
                  <a:latin typeface="Arial" panose="020B0604020202020204" pitchFamily="34" charset="0"/>
                </a:rPr>
                <a:t>Refractive</a:t>
              </a:r>
            </a:p>
            <a:p>
              <a:pPr algn="ctr" eaLnBrk="0" hangingPunct="0"/>
              <a:r>
                <a:rPr lang="en-GB" altLang="en-US" sz="1800" b="1" dirty="0">
                  <a:solidFill>
                    <a:schemeClr val="tx2"/>
                  </a:solidFill>
                  <a:latin typeface="Arial" panose="020B0604020202020204" pitchFamily="34" charset="0"/>
                </a:rPr>
                <a:t>Index</a:t>
              </a:r>
            </a:p>
          </p:txBody>
        </p:sp>
        <p:sp>
          <p:nvSpPr>
            <p:cNvPr id="445457" name="Line 17"/>
            <p:cNvSpPr>
              <a:spLocks noChangeShapeType="1"/>
            </p:cNvSpPr>
            <p:nvPr/>
          </p:nvSpPr>
          <p:spPr bwMode="auto">
            <a:xfrm flipH="1">
              <a:off x="3962401" y="2867025"/>
              <a:ext cx="4763" cy="2962275"/>
            </a:xfrm>
            <a:prstGeom prst="line">
              <a:avLst/>
            </a:prstGeom>
            <a:noFill/>
            <a:ln w="1270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sp>
          <p:nvSpPr>
            <p:cNvPr id="445458" name="Line 18"/>
            <p:cNvSpPr>
              <a:spLocks noChangeShapeType="1"/>
            </p:cNvSpPr>
            <p:nvPr/>
          </p:nvSpPr>
          <p:spPr bwMode="auto">
            <a:xfrm flipH="1">
              <a:off x="2914651" y="2847976"/>
              <a:ext cx="4763" cy="2962275"/>
            </a:xfrm>
            <a:prstGeom prst="line">
              <a:avLst/>
            </a:prstGeom>
            <a:noFill/>
            <a:ln w="1270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sp>
          <p:nvSpPr>
            <p:cNvPr id="445459" name="Line 19"/>
            <p:cNvSpPr>
              <a:spLocks noChangeShapeType="1"/>
            </p:cNvSpPr>
            <p:nvPr/>
          </p:nvSpPr>
          <p:spPr bwMode="auto">
            <a:xfrm flipH="1">
              <a:off x="3362325" y="2857501"/>
              <a:ext cx="4763" cy="2962275"/>
            </a:xfrm>
            <a:prstGeom prst="line">
              <a:avLst/>
            </a:prstGeom>
            <a:noFill/>
            <a:ln w="1270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2400"/>
            </a:p>
          </p:txBody>
        </p:sp>
      </p:grpSp>
      <p:sp>
        <p:nvSpPr>
          <p:cNvPr id="445461" name="AutoShape 21"/>
          <p:cNvSpPr>
            <a:spLocks noChangeArrowheads="1"/>
          </p:cNvSpPr>
          <p:nvPr/>
        </p:nvSpPr>
        <p:spPr bwMode="auto">
          <a:xfrm>
            <a:off x="5717304" y="4323254"/>
            <a:ext cx="3962400" cy="1671143"/>
          </a:xfrm>
          <a:prstGeom prst="wedgeRectCallout">
            <a:avLst>
              <a:gd name="adj1" fmla="val -14163"/>
              <a:gd name="adj2" fmla="val -130426"/>
            </a:avLst>
          </a:prstGeom>
          <a:solidFill>
            <a:schemeClr val="bg1"/>
          </a:solidFill>
          <a:ln>
            <a:solidFill>
              <a:schemeClr val="tx1"/>
            </a:solidFill>
          </a:ln>
          <a:effectLst/>
        </p:spPr>
        <p:txBody>
          <a:bodyPr lIns="93600" tIns="46800" rIns="93600" bIns="46800" anchor="ctr"/>
          <a:lstStyle/>
          <a:p>
            <a:pPr algn="ctr"/>
            <a:r>
              <a:rPr lang="en-GB" altLang="en-US" sz="2800" dirty="0">
                <a:solidFill>
                  <a:schemeClr val="tx2"/>
                </a:solidFill>
                <a:latin typeface="Arial" panose="020B0604020202020204" pitchFamily="34" charset="0"/>
              </a:rPr>
              <a:t>Light is </a:t>
            </a:r>
            <a:r>
              <a:rPr lang="en-GB" altLang="en-US" sz="2800" b="1" i="1" dirty="0">
                <a:solidFill>
                  <a:schemeClr val="tx2"/>
                </a:solidFill>
                <a:latin typeface="Arial" panose="020B0604020202020204" pitchFamily="34" charset="0"/>
              </a:rPr>
              <a:t>guided</a:t>
            </a:r>
            <a:r>
              <a:rPr lang="en-GB" altLang="en-US" sz="2800" dirty="0">
                <a:solidFill>
                  <a:schemeClr val="tx2"/>
                </a:solidFill>
                <a:latin typeface="Arial" panose="020B0604020202020204" pitchFamily="34" charset="0"/>
              </a:rPr>
              <a:t> to stay in the core – hence, </a:t>
            </a:r>
            <a:r>
              <a:rPr lang="en-GB" altLang="en-US" sz="2800" b="1" i="1" dirty="0">
                <a:solidFill>
                  <a:schemeClr val="tx2"/>
                </a:solidFill>
                <a:latin typeface="Arial" panose="020B0604020202020204" pitchFamily="34" charset="0"/>
              </a:rPr>
              <a:t>waveguide</a:t>
            </a:r>
          </a:p>
        </p:txBody>
      </p:sp>
      <p:sp>
        <p:nvSpPr>
          <p:cNvPr id="2" name="TextBox 1">
            <a:extLst>
              <a:ext uri="{FF2B5EF4-FFF2-40B4-BE49-F238E27FC236}">
                <a16:creationId xmlns:a16="http://schemas.microsoft.com/office/drawing/2014/main" id="{DEA974BC-A572-4159-A9A7-19B368874F3B}"/>
              </a:ext>
            </a:extLst>
          </p:cNvPr>
          <p:cNvSpPr txBox="1"/>
          <p:nvPr/>
        </p:nvSpPr>
        <p:spPr>
          <a:xfrm>
            <a:off x="851902" y="2440349"/>
            <a:ext cx="880369" cy="584775"/>
          </a:xfrm>
          <a:prstGeom prst="rect">
            <a:avLst/>
          </a:prstGeom>
        </p:spPr>
        <p:txBody>
          <a:bodyPr vert="horz" wrap="none" lIns="91440" tIns="45720" rIns="91440" bIns="45720" rtlCol="0">
            <a:spAutoFit/>
          </a:bodyPr>
          <a:lstStyle/>
          <a:p>
            <a:pPr algn="l">
              <a:spcBef>
                <a:spcPct val="20000"/>
              </a:spcBef>
              <a:buClr>
                <a:srgbClr val="6D6E71"/>
              </a:buClr>
            </a:pPr>
            <a:r>
              <a:rPr lang="en-US" sz="3200" dirty="0">
                <a:solidFill>
                  <a:schemeClr val="tx2"/>
                </a:solidFill>
              </a:rPr>
              <a:t>SiO</a:t>
            </a:r>
            <a:r>
              <a:rPr lang="en-US" sz="3200" baseline="-25000" dirty="0">
                <a:solidFill>
                  <a:schemeClr val="tx2"/>
                </a:solidFill>
              </a:rPr>
              <a:t>2</a:t>
            </a:r>
          </a:p>
        </p:txBody>
      </p:sp>
      <p:sp>
        <p:nvSpPr>
          <p:cNvPr id="26" name="TextBox 25">
            <a:extLst>
              <a:ext uri="{FF2B5EF4-FFF2-40B4-BE49-F238E27FC236}">
                <a16:creationId xmlns:a16="http://schemas.microsoft.com/office/drawing/2014/main" id="{722D4CF6-4CFA-4D47-9E3D-1D90E210F8E9}"/>
              </a:ext>
            </a:extLst>
          </p:cNvPr>
          <p:cNvSpPr txBox="1"/>
          <p:nvPr/>
        </p:nvSpPr>
        <p:spPr>
          <a:xfrm>
            <a:off x="1292159" y="1206797"/>
            <a:ext cx="2355502" cy="584775"/>
          </a:xfrm>
          <a:prstGeom prst="rect">
            <a:avLst/>
          </a:prstGeom>
        </p:spPr>
        <p:txBody>
          <a:bodyPr vert="horz" wrap="square" lIns="91440" tIns="45720" rIns="91440" bIns="45720" rtlCol="0">
            <a:spAutoFit/>
          </a:bodyPr>
          <a:lstStyle/>
          <a:p>
            <a:pPr>
              <a:spcBef>
                <a:spcPct val="20000"/>
              </a:spcBef>
              <a:buClr>
                <a:srgbClr val="6D6E71"/>
              </a:buClr>
            </a:pPr>
            <a:r>
              <a:rPr lang="en-US" sz="3200" dirty="0">
                <a:solidFill>
                  <a:schemeClr val="tx2"/>
                </a:solidFill>
              </a:rPr>
              <a:t>SiO</a:t>
            </a:r>
            <a:r>
              <a:rPr lang="en-US" sz="3200" baseline="-25000" dirty="0">
                <a:solidFill>
                  <a:schemeClr val="tx2"/>
                </a:solidFill>
              </a:rPr>
              <a:t>2 </a:t>
            </a:r>
            <a:r>
              <a:rPr lang="en-US" sz="3200" dirty="0">
                <a:solidFill>
                  <a:schemeClr val="tx2"/>
                </a:solidFill>
              </a:rPr>
              <a:t> + GeO</a:t>
            </a:r>
            <a:r>
              <a:rPr lang="en-US" sz="3200" baseline="-25000" dirty="0">
                <a:solidFill>
                  <a:schemeClr val="tx2"/>
                </a:solidFill>
              </a:rPr>
              <a:t>2</a:t>
            </a:r>
          </a:p>
        </p:txBody>
      </p:sp>
      <p:sp>
        <p:nvSpPr>
          <p:cNvPr id="3" name="Freeform: Shape 2">
            <a:extLst>
              <a:ext uri="{FF2B5EF4-FFF2-40B4-BE49-F238E27FC236}">
                <a16:creationId xmlns:a16="http://schemas.microsoft.com/office/drawing/2014/main" id="{B858343D-7687-4929-9121-8138ADDBBA23}"/>
              </a:ext>
            </a:extLst>
          </p:cNvPr>
          <p:cNvSpPr/>
          <p:nvPr/>
        </p:nvSpPr>
        <p:spPr>
          <a:xfrm>
            <a:off x="2325756" y="1729408"/>
            <a:ext cx="755374" cy="1003852"/>
          </a:xfrm>
          <a:custGeom>
            <a:avLst/>
            <a:gdLst>
              <a:gd name="connsiteX0" fmla="*/ 0 w 755374"/>
              <a:gd name="connsiteY0" fmla="*/ 0 h 1003852"/>
              <a:gd name="connsiteX1" fmla="*/ 755374 w 755374"/>
              <a:gd name="connsiteY1" fmla="*/ 1003852 h 1003852"/>
              <a:gd name="connsiteX0" fmla="*/ 0 w 755374"/>
              <a:gd name="connsiteY0" fmla="*/ 0 h 1003852"/>
              <a:gd name="connsiteX1" fmla="*/ 755374 w 755374"/>
              <a:gd name="connsiteY1" fmla="*/ 1003852 h 1003852"/>
              <a:gd name="connsiteX0" fmla="*/ 0 w 755374"/>
              <a:gd name="connsiteY0" fmla="*/ 0 h 1003852"/>
              <a:gd name="connsiteX1" fmla="*/ 755374 w 755374"/>
              <a:gd name="connsiteY1" fmla="*/ 1003852 h 1003852"/>
              <a:gd name="connsiteX0" fmla="*/ 0 w 755374"/>
              <a:gd name="connsiteY0" fmla="*/ 0 h 1003852"/>
              <a:gd name="connsiteX1" fmla="*/ 755374 w 755374"/>
              <a:gd name="connsiteY1" fmla="*/ 1003852 h 1003852"/>
            </a:gdLst>
            <a:ahLst/>
            <a:cxnLst>
              <a:cxn ang="0">
                <a:pos x="connsiteX0" y="connsiteY0"/>
              </a:cxn>
              <a:cxn ang="0">
                <a:pos x="connsiteX1" y="connsiteY1"/>
              </a:cxn>
            </a:cxnLst>
            <a:rect l="l" t="t" r="r" b="b"/>
            <a:pathLst>
              <a:path w="755374" h="1003852">
                <a:moveTo>
                  <a:pt x="0" y="0"/>
                </a:moveTo>
                <a:cubicBezTo>
                  <a:pt x="152399" y="523460"/>
                  <a:pt x="215348" y="589722"/>
                  <a:pt x="755374" y="1003852"/>
                </a:cubicBezTo>
              </a:path>
            </a:pathLst>
          </a:custGeom>
          <a:noFill/>
          <a:ln w="12700">
            <a:solidFill>
              <a:schemeClr val="tx1"/>
            </a:solidFill>
            <a:headEnd type="none" w="med" len="med"/>
            <a:tailEnd type="arrow"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 name="Straight Arrow Connector 4">
            <a:extLst>
              <a:ext uri="{FF2B5EF4-FFF2-40B4-BE49-F238E27FC236}">
                <a16:creationId xmlns:a16="http://schemas.microsoft.com/office/drawing/2014/main" id="{6ECF357E-F28F-4E40-8860-C96238E3B86A}"/>
              </a:ext>
            </a:extLst>
          </p:cNvPr>
          <p:cNvCxnSpPr>
            <a:stCxn id="2" idx="3"/>
          </p:cNvCxnSpPr>
          <p:nvPr/>
        </p:nvCxnSpPr>
        <p:spPr>
          <a:xfrm>
            <a:off x="1732271" y="2732737"/>
            <a:ext cx="804556" cy="251764"/>
          </a:xfrm>
          <a:prstGeom prst="straightConnector1">
            <a:avLst/>
          </a:prstGeom>
          <a:noFill/>
          <a:ln w="12700">
            <a:solidFill>
              <a:schemeClr val="tx1"/>
            </a:solidFill>
            <a:headEnd type="none" w="med" len="med"/>
            <a:tailEnd type="arrow" w="med" len="med"/>
          </a:ln>
          <a:effectLst/>
        </p:spPr>
        <p:style>
          <a:lnRef idx="1">
            <a:schemeClr val="accent1"/>
          </a:lnRef>
          <a:fillRef idx="3">
            <a:schemeClr val="accent1"/>
          </a:fillRef>
          <a:effectRef idx="2">
            <a:schemeClr val="accent1"/>
          </a:effectRef>
          <a:fontRef idx="minor">
            <a:schemeClr val="lt1"/>
          </a:fontRef>
        </p:style>
      </p:cxnSp>
      <p:sp>
        <p:nvSpPr>
          <p:cNvPr id="8" name="Freeform: Shape 7">
            <a:extLst>
              <a:ext uri="{FF2B5EF4-FFF2-40B4-BE49-F238E27FC236}">
                <a16:creationId xmlns:a16="http://schemas.microsoft.com/office/drawing/2014/main" id="{10CB6439-BAAA-4329-8D54-4D8A5B6F755D}"/>
              </a:ext>
            </a:extLst>
          </p:cNvPr>
          <p:cNvSpPr/>
          <p:nvPr/>
        </p:nvSpPr>
        <p:spPr>
          <a:xfrm>
            <a:off x="2307515" y="4722597"/>
            <a:ext cx="1642902" cy="365884"/>
          </a:xfrm>
          <a:custGeom>
            <a:avLst/>
            <a:gdLst>
              <a:gd name="connsiteX0" fmla="*/ 0 w 1645920"/>
              <a:gd name="connsiteY0" fmla="*/ 355003 h 377223"/>
              <a:gd name="connsiteX1" fmla="*/ 607807 w 1645920"/>
              <a:gd name="connsiteY1" fmla="*/ 338866 h 377223"/>
              <a:gd name="connsiteX2" fmla="*/ 822960 w 1645920"/>
              <a:gd name="connsiteY2" fmla="*/ 0 h 377223"/>
              <a:gd name="connsiteX3" fmla="*/ 1043492 w 1645920"/>
              <a:gd name="connsiteY3" fmla="*/ 338866 h 377223"/>
              <a:gd name="connsiteX4" fmla="*/ 1645920 w 1645920"/>
              <a:gd name="connsiteY4" fmla="*/ 317351 h 377223"/>
              <a:gd name="connsiteX0" fmla="*/ 0 w 1645920"/>
              <a:gd name="connsiteY0" fmla="*/ 355003 h 373053"/>
              <a:gd name="connsiteX1" fmla="*/ 607807 w 1645920"/>
              <a:gd name="connsiteY1" fmla="*/ 338866 h 373053"/>
              <a:gd name="connsiteX2" fmla="*/ 822960 w 1645920"/>
              <a:gd name="connsiteY2" fmla="*/ 0 h 373053"/>
              <a:gd name="connsiteX3" fmla="*/ 1043492 w 1645920"/>
              <a:gd name="connsiteY3" fmla="*/ 338866 h 373053"/>
              <a:gd name="connsiteX4" fmla="*/ 1645920 w 1645920"/>
              <a:gd name="connsiteY4" fmla="*/ 317351 h 373053"/>
              <a:gd name="connsiteX0" fmla="*/ 0 w 1645920"/>
              <a:gd name="connsiteY0" fmla="*/ 355003 h 373053"/>
              <a:gd name="connsiteX1" fmla="*/ 607807 w 1645920"/>
              <a:gd name="connsiteY1" fmla="*/ 338866 h 373053"/>
              <a:gd name="connsiteX2" fmla="*/ 822960 w 1645920"/>
              <a:gd name="connsiteY2" fmla="*/ 0 h 373053"/>
              <a:gd name="connsiteX3" fmla="*/ 1043492 w 1645920"/>
              <a:gd name="connsiteY3" fmla="*/ 338866 h 373053"/>
              <a:gd name="connsiteX4" fmla="*/ 1645920 w 1645920"/>
              <a:gd name="connsiteY4" fmla="*/ 317351 h 373053"/>
              <a:gd name="connsiteX0" fmla="*/ 0 w 1645920"/>
              <a:gd name="connsiteY0" fmla="*/ 355003 h 365874"/>
              <a:gd name="connsiteX1" fmla="*/ 607807 w 1645920"/>
              <a:gd name="connsiteY1" fmla="*/ 338866 h 365874"/>
              <a:gd name="connsiteX2" fmla="*/ 822960 w 1645920"/>
              <a:gd name="connsiteY2" fmla="*/ 0 h 365874"/>
              <a:gd name="connsiteX3" fmla="*/ 1043492 w 1645920"/>
              <a:gd name="connsiteY3" fmla="*/ 338866 h 365874"/>
              <a:gd name="connsiteX4" fmla="*/ 1645920 w 1645920"/>
              <a:gd name="connsiteY4" fmla="*/ 317351 h 365874"/>
              <a:gd name="connsiteX0" fmla="*/ 0 w 1645920"/>
              <a:gd name="connsiteY0" fmla="*/ 355003 h 365874"/>
              <a:gd name="connsiteX1" fmla="*/ 607807 w 1645920"/>
              <a:gd name="connsiteY1" fmla="*/ 338866 h 365874"/>
              <a:gd name="connsiteX2" fmla="*/ 822960 w 1645920"/>
              <a:gd name="connsiteY2" fmla="*/ 0 h 365874"/>
              <a:gd name="connsiteX3" fmla="*/ 1043492 w 1645920"/>
              <a:gd name="connsiteY3" fmla="*/ 338866 h 365874"/>
              <a:gd name="connsiteX4" fmla="*/ 1645920 w 1645920"/>
              <a:gd name="connsiteY4" fmla="*/ 317351 h 365874"/>
              <a:gd name="connsiteX0" fmla="*/ 0 w 1645920"/>
              <a:gd name="connsiteY0" fmla="*/ 355003 h 365874"/>
              <a:gd name="connsiteX1" fmla="*/ 607807 w 1645920"/>
              <a:gd name="connsiteY1" fmla="*/ 338866 h 365874"/>
              <a:gd name="connsiteX2" fmla="*/ 822960 w 1645920"/>
              <a:gd name="connsiteY2" fmla="*/ 0 h 365874"/>
              <a:gd name="connsiteX3" fmla="*/ 1043492 w 1645920"/>
              <a:gd name="connsiteY3" fmla="*/ 338866 h 365874"/>
              <a:gd name="connsiteX4" fmla="*/ 1645920 w 1645920"/>
              <a:gd name="connsiteY4" fmla="*/ 317351 h 365874"/>
              <a:gd name="connsiteX0" fmla="*/ 0 w 1645920"/>
              <a:gd name="connsiteY0" fmla="*/ 355013 h 365884"/>
              <a:gd name="connsiteX1" fmla="*/ 607807 w 1645920"/>
              <a:gd name="connsiteY1" fmla="*/ 338876 h 365884"/>
              <a:gd name="connsiteX2" fmla="*/ 822960 w 1645920"/>
              <a:gd name="connsiteY2" fmla="*/ 10 h 365884"/>
              <a:gd name="connsiteX3" fmla="*/ 1043492 w 1645920"/>
              <a:gd name="connsiteY3" fmla="*/ 338876 h 365884"/>
              <a:gd name="connsiteX4" fmla="*/ 1645920 w 1645920"/>
              <a:gd name="connsiteY4" fmla="*/ 317361 h 365884"/>
              <a:gd name="connsiteX0" fmla="*/ 0 w 1645920"/>
              <a:gd name="connsiteY0" fmla="*/ 355013 h 365884"/>
              <a:gd name="connsiteX1" fmla="*/ 607807 w 1645920"/>
              <a:gd name="connsiteY1" fmla="*/ 338876 h 365884"/>
              <a:gd name="connsiteX2" fmla="*/ 822960 w 1645920"/>
              <a:gd name="connsiteY2" fmla="*/ 10 h 365884"/>
              <a:gd name="connsiteX3" fmla="*/ 1043492 w 1645920"/>
              <a:gd name="connsiteY3" fmla="*/ 338876 h 365884"/>
              <a:gd name="connsiteX4" fmla="*/ 1645920 w 1645920"/>
              <a:gd name="connsiteY4" fmla="*/ 317361 h 365884"/>
              <a:gd name="connsiteX0" fmla="*/ 0 w 1645920"/>
              <a:gd name="connsiteY0" fmla="*/ 355013 h 365884"/>
              <a:gd name="connsiteX1" fmla="*/ 607807 w 1645920"/>
              <a:gd name="connsiteY1" fmla="*/ 338876 h 365884"/>
              <a:gd name="connsiteX2" fmla="*/ 822960 w 1645920"/>
              <a:gd name="connsiteY2" fmla="*/ 10 h 365884"/>
              <a:gd name="connsiteX3" fmla="*/ 1043492 w 1645920"/>
              <a:gd name="connsiteY3" fmla="*/ 338876 h 365884"/>
              <a:gd name="connsiteX4" fmla="*/ 1645920 w 1645920"/>
              <a:gd name="connsiteY4" fmla="*/ 317361 h 365884"/>
              <a:gd name="connsiteX0" fmla="*/ 0 w 1636866"/>
              <a:gd name="connsiteY0" fmla="*/ 355013 h 365884"/>
              <a:gd name="connsiteX1" fmla="*/ 607807 w 1636866"/>
              <a:gd name="connsiteY1" fmla="*/ 338876 h 365884"/>
              <a:gd name="connsiteX2" fmla="*/ 822960 w 1636866"/>
              <a:gd name="connsiteY2" fmla="*/ 10 h 365884"/>
              <a:gd name="connsiteX3" fmla="*/ 1043492 w 1636866"/>
              <a:gd name="connsiteY3" fmla="*/ 338876 h 365884"/>
              <a:gd name="connsiteX4" fmla="*/ 1636866 w 1636866"/>
              <a:gd name="connsiteY4" fmla="*/ 317361 h 365884"/>
              <a:gd name="connsiteX0" fmla="*/ 0 w 1636866"/>
              <a:gd name="connsiteY0" fmla="*/ 355013 h 365884"/>
              <a:gd name="connsiteX1" fmla="*/ 607807 w 1636866"/>
              <a:gd name="connsiteY1" fmla="*/ 338876 h 365884"/>
              <a:gd name="connsiteX2" fmla="*/ 822960 w 1636866"/>
              <a:gd name="connsiteY2" fmla="*/ 10 h 365884"/>
              <a:gd name="connsiteX3" fmla="*/ 1043492 w 1636866"/>
              <a:gd name="connsiteY3" fmla="*/ 338876 h 365884"/>
              <a:gd name="connsiteX4" fmla="*/ 1636866 w 1636866"/>
              <a:gd name="connsiteY4" fmla="*/ 317361 h 365884"/>
              <a:gd name="connsiteX0" fmla="*/ 0 w 1642902"/>
              <a:gd name="connsiteY0" fmla="*/ 355013 h 365884"/>
              <a:gd name="connsiteX1" fmla="*/ 607807 w 1642902"/>
              <a:gd name="connsiteY1" fmla="*/ 338876 h 365884"/>
              <a:gd name="connsiteX2" fmla="*/ 822960 w 1642902"/>
              <a:gd name="connsiteY2" fmla="*/ 10 h 365884"/>
              <a:gd name="connsiteX3" fmla="*/ 1043492 w 1642902"/>
              <a:gd name="connsiteY3" fmla="*/ 338876 h 365884"/>
              <a:gd name="connsiteX4" fmla="*/ 1642902 w 1642902"/>
              <a:gd name="connsiteY4" fmla="*/ 332450 h 365884"/>
              <a:gd name="connsiteX0" fmla="*/ 0 w 1642902"/>
              <a:gd name="connsiteY0" fmla="*/ 355013 h 365884"/>
              <a:gd name="connsiteX1" fmla="*/ 607807 w 1642902"/>
              <a:gd name="connsiteY1" fmla="*/ 338876 h 365884"/>
              <a:gd name="connsiteX2" fmla="*/ 822960 w 1642902"/>
              <a:gd name="connsiteY2" fmla="*/ 10 h 365884"/>
              <a:gd name="connsiteX3" fmla="*/ 1043492 w 1642902"/>
              <a:gd name="connsiteY3" fmla="*/ 338876 h 365884"/>
              <a:gd name="connsiteX4" fmla="*/ 1642902 w 1642902"/>
              <a:gd name="connsiteY4" fmla="*/ 332450 h 365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2902" h="365884">
                <a:moveTo>
                  <a:pt x="0" y="355013"/>
                </a:moveTo>
                <a:cubicBezTo>
                  <a:pt x="482785" y="364457"/>
                  <a:pt x="389165" y="379936"/>
                  <a:pt x="607807" y="338876"/>
                </a:cubicBezTo>
                <a:cubicBezTo>
                  <a:pt x="778162" y="-6984"/>
                  <a:pt x="750346" y="10"/>
                  <a:pt x="822960" y="10"/>
                </a:cubicBezTo>
                <a:cubicBezTo>
                  <a:pt x="895574" y="10"/>
                  <a:pt x="873136" y="-3727"/>
                  <a:pt x="1043492" y="338876"/>
                </a:cubicBezTo>
                <a:cubicBezTo>
                  <a:pt x="1283258" y="355554"/>
                  <a:pt x="1371036" y="339474"/>
                  <a:pt x="1642902" y="332450"/>
                </a:cubicBezTo>
              </a:path>
            </a:pathLst>
          </a:custGeom>
          <a:noFill/>
          <a:ln w="25400" cap="rnd" cmpd="sng">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solidFill>
                <a:schemeClr val="tx1"/>
              </a:solidFill>
            </a:endParaRPr>
          </a:p>
        </p:txBody>
      </p:sp>
      <p:sp>
        <p:nvSpPr>
          <p:cNvPr id="33" name="TextBox 32">
            <a:extLst>
              <a:ext uri="{FF2B5EF4-FFF2-40B4-BE49-F238E27FC236}">
                <a16:creationId xmlns:a16="http://schemas.microsoft.com/office/drawing/2014/main" id="{29200665-6B19-4E13-A315-F252A948EA37}"/>
              </a:ext>
            </a:extLst>
          </p:cNvPr>
          <p:cNvSpPr txBox="1"/>
          <p:nvPr/>
        </p:nvSpPr>
        <p:spPr>
          <a:xfrm>
            <a:off x="2325222" y="5908530"/>
            <a:ext cx="1612877" cy="400110"/>
          </a:xfrm>
          <a:prstGeom prst="rect">
            <a:avLst/>
          </a:prstGeom>
        </p:spPr>
        <p:txBody>
          <a:bodyPr vert="horz" wrap="none" lIns="91440" tIns="45720" rIns="91440" bIns="45720" rtlCol="0">
            <a:spAutoFit/>
          </a:bodyPr>
          <a:lstStyle/>
          <a:p>
            <a:pPr algn="l">
              <a:spcBef>
                <a:spcPct val="20000"/>
              </a:spcBef>
              <a:buClr>
                <a:srgbClr val="6D6E71"/>
              </a:buClr>
            </a:pPr>
            <a:r>
              <a:rPr lang="en-US" sz="2000" b="1" dirty="0">
                <a:solidFill>
                  <a:schemeClr val="tx2"/>
                </a:solidFill>
              </a:rPr>
              <a:t>Graded Index</a:t>
            </a:r>
          </a:p>
        </p:txBody>
      </p:sp>
      <p:grpSp>
        <p:nvGrpSpPr>
          <p:cNvPr id="7" name="Group 6">
            <a:extLst>
              <a:ext uri="{FF2B5EF4-FFF2-40B4-BE49-F238E27FC236}">
                <a16:creationId xmlns:a16="http://schemas.microsoft.com/office/drawing/2014/main" id="{46359E89-8AC6-53A7-693E-DAFB5EA66501}"/>
              </a:ext>
            </a:extLst>
          </p:cNvPr>
          <p:cNvGrpSpPr/>
          <p:nvPr/>
        </p:nvGrpSpPr>
        <p:grpSpPr>
          <a:xfrm>
            <a:off x="5209578" y="932477"/>
            <a:ext cx="6494745" cy="954107"/>
            <a:chOff x="5209578" y="932477"/>
            <a:chExt cx="6494745" cy="954107"/>
          </a:xfrm>
        </p:grpSpPr>
        <p:sp>
          <p:nvSpPr>
            <p:cNvPr id="9" name="TextBox 8">
              <a:extLst>
                <a:ext uri="{FF2B5EF4-FFF2-40B4-BE49-F238E27FC236}">
                  <a16:creationId xmlns:a16="http://schemas.microsoft.com/office/drawing/2014/main" id="{F9E4ACF8-E0A0-492F-A58B-4780F30429B4}"/>
                </a:ext>
              </a:extLst>
            </p:cNvPr>
            <p:cNvSpPr txBox="1"/>
            <p:nvPr/>
          </p:nvSpPr>
          <p:spPr>
            <a:xfrm>
              <a:off x="5209578" y="932477"/>
              <a:ext cx="2684745" cy="954107"/>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Only room for one mode</a:t>
              </a:r>
            </a:p>
          </p:txBody>
        </p:sp>
        <p:sp>
          <p:nvSpPr>
            <p:cNvPr id="4" name="Arrow: Right 3">
              <a:extLst>
                <a:ext uri="{FF2B5EF4-FFF2-40B4-BE49-F238E27FC236}">
                  <a16:creationId xmlns:a16="http://schemas.microsoft.com/office/drawing/2014/main" id="{353E0142-5FAC-45A7-14F0-15CA48E8B684}"/>
                </a:ext>
              </a:extLst>
            </p:cNvPr>
            <p:cNvSpPr/>
            <p:nvPr/>
          </p:nvSpPr>
          <p:spPr>
            <a:xfrm>
              <a:off x="7843520" y="1097279"/>
              <a:ext cx="782320" cy="575945"/>
            </a:xfrm>
            <a:prstGeom prst="rightArrow">
              <a:avLst>
                <a:gd name="adj1" fmla="val 50000"/>
                <a:gd name="adj2" fmla="val 85281"/>
              </a:avLst>
            </a:prstGeom>
            <a:solidFill>
              <a:schemeClr val="accent6"/>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31" name="TextBox 30">
              <a:extLst>
                <a:ext uri="{FF2B5EF4-FFF2-40B4-BE49-F238E27FC236}">
                  <a16:creationId xmlns:a16="http://schemas.microsoft.com/office/drawing/2014/main" id="{B13AC5B7-5425-E2FA-D2D9-0B13F208755C}"/>
                </a:ext>
              </a:extLst>
            </p:cNvPr>
            <p:cNvSpPr txBox="1"/>
            <p:nvPr/>
          </p:nvSpPr>
          <p:spPr>
            <a:xfrm>
              <a:off x="8829040" y="1105197"/>
              <a:ext cx="2875283" cy="523220"/>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Single mode fiber</a:t>
              </a:r>
            </a:p>
          </p:txBody>
        </p:sp>
      </p:grpSp>
    </p:spTree>
    <p:extLst>
      <p:ext uri="{BB962C8B-B14F-4D97-AF65-F5344CB8AC3E}">
        <p14:creationId xmlns:p14="http://schemas.microsoft.com/office/powerpoint/2010/main" val="124747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left)">
                                      <p:cBhvr>
                                        <p:cTn id="7" dur="500"/>
                                        <p:tgtEl>
                                          <p:spTgt spid="3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left)">
                                      <p:cBhvr>
                                        <p:cTn id="11" dur="500"/>
                                        <p:tgtEl>
                                          <p:spTgt spid="32"/>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445461"/>
                                        </p:tgtEl>
                                        <p:attrNameLst>
                                          <p:attrName>style.visibility</p:attrName>
                                        </p:attrNameLst>
                                      </p:cBhvr>
                                      <p:to>
                                        <p:strVal val="visible"/>
                                      </p:to>
                                    </p:set>
                                    <p:animEffect transition="in" filter="wipe(up)">
                                      <p:cBhvr>
                                        <p:cTn id="15" dur="500"/>
                                        <p:tgtEl>
                                          <p:spTgt spid="44546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left)">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45461" grpId="0" animBg="1"/>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02F4D-35DA-4763-811A-8777780CC9A2}"/>
              </a:ext>
            </a:extLst>
          </p:cNvPr>
          <p:cNvSpPr>
            <a:spLocks noGrp="1"/>
          </p:cNvSpPr>
          <p:nvPr>
            <p:ph type="title"/>
          </p:nvPr>
        </p:nvSpPr>
        <p:spPr/>
        <p:txBody>
          <a:bodyPr/>
          <a:lstStyle/>
          <a:p>
            <a:r>
              <a:rPr lang="en-US" dirty="0"/>
              <a:t>Silica Core Optical Fiber: Attenuation vs Wavelength</a:t>
            </a:r>
          </a:p>
        </p:txBody>
      </p:sp>
      <p:pic>
        <p:nvPicPr>
          <p:cNvPr id="3074" name="Picture 2">
            <a:extLst>
              <a:ext uri="{FF2B5EF4-FFF2-40B4-BE49-F238E27FC236}">
                <a16:creationId xmlns:a16="http://schemas.microsoft.com/office/drawing/2014/main" id="{85F872DB-BA23-4863-9A0C-BC86A12531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404" y="952146"/>
            <a:ext cx="9841940" cy="506663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983082EB-18E9-4169-91F6-26727DCE563D}"/>
              </a:ext>
            </a:extLst>
          </p:cNvPr>
          <p:cNvGrpSpPr/>
          <p:nvPr/>
        </p:nvGrpSpPr>
        <p:grpSpPr>
          <a:xfrm>
            <a:off x="842107" y="5535710"/>
            <a:ext cx="2743059" cy="644465"/>
            <a:chOff x="836854" y="5669831"/>
            <a:chExt cx="2743059" cy="644465"/>
          </a:xfrm>
        </p:grpSpPr>
        <p:sp>
          <p:nvSpPr>
            <p:cNvPr id="7" name="Rectangle 6">
              <a:extLst>
                <a:ext uri="{FF2B5EF4-FFF2-40B4-BE49-F238E27FC236}">
                  <a16:creationId xmlns:a16="http://schemas.microsoft.com/office/drawing/2014/main" id="{75C18E90-B128-4779-BE3A-41CE4219DD92}"/>
                </a:ext>
              </a:extLst>
            </p:cNvPr>
            <p:cNvSpPr/>
            <p:nvPr/>
          </p:nvSpPr>
          <p:spPr>
            <a:xfrm rot="10800000">
              <a:off x="1361665" y="5669831"/>
              <a:ext cx="1749287" cy="327992"/>
            </a:xfrm>
            <a:prstGeom prst="rect">
              <a:avLst/>
            </a:prstGeom>
            <a:gradFill>
              <a:gsLst>
                <a:gs pos="87000">
                  <a:srgbClr val="0070C0"/>
                </a:gs>
                <a:gs pos="74000">
                  <a:srgbClr val="00B0F0"/>
                </a:gs>
                <a:gs pos="52000">
                  <a:srgbClr val="00B050"/>
                </a:gs>
                <a:gs pos="32000">
                  <a:schemeClr val="accent3"/>
                </a:gs>
                <a:gs pos="16000">
                  <a:schemeClr val="accent1"/>
                </a:gs>
                <a:gs pos="0">
                  <a:srgbClr val="FF0000"/>
                </a:gs>
                <a:gs pos="100000">
                  <a:srgbClr val="7030A0"/>
                </a:gs>
              </a:gsLst>
              <a:lin ang="0" scaled="0"/>
            </a:gra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8" name="TextBox 7">
              <a:extLst>
                <a:ext uri="{FF2B5EF4-FFF2-40B4-BE49-F238E27FC236}">
                  <a16:creationId xmlns:a16="http://schemas.microsoft.com/office/drawing/2014/main" id="{D3D18012-12DC-4317-9CC0-84ABBCB4EF33}"/>
                </a:ext>
              </a:extLst>
            </p:cNvPr>
            <p:cNvSpPr txBox="1"/>
            <p:nvPr/>
          </p:nvSpPr>
          <p:spPr>
            <a:xfrm>
              <a:off x="836854" y="5975742"/>
              <a:ext cx="2743059" cy="338554"/>
            </a:xfrm>
            <a:prstGeom prst="rect">
              <a:avLst/>
            </a:prstGeom>
          </p:spPr>
          <p:txBody>
            <a:bodyPr vert="horz" wrap="none" lIns="91440" tIns="45720" rIns="91440" bIns="45720" rtlCol="0">
              <a:spAutoFit/>
            </a:bodyPr>
            <a:lstStyle/>
            <a:p>
              <a:pPr algn="l">
                <a:spcBef>
                  <a:spcPct val="20000"/>
                </a:spcBef>
                <a:buClr>
                  <a:srgbClr val="6D6E71"/>
                </a:buClr>
              </a:pPr>
              <a:r>
                <a:rPr lang="en-US" sz="1600" dirty="0">
                  <a:solidFill>
                    <a:schemeClr val="tx2"/>
                  </a:solidFill>
                </a:rPr>
                <a:t>Visible spectrum (380-700 nm)</a:t>
              </a:r>
            </a:p>
          </p:txBody>
        </p:sp>
      </p:grpSp>
      <p:grpSp>
        <p:nvGrpSpPr>
          <p:cNvPr id="5" name="Group 4">
            <a:extLst>
              <a:ext uri="{FF2B5EF4-FFF2-40B4-BE49-F238E27FC236}">
                <a16:creationId xmlns:a16="http://schemas.microsoft.com/office/drawing/2014/main" id="{9A4929AC-7920-73A1-BFC3-A2F67469B445}"/>
              </a:ext>
            </a:extLst>
          </p:cNvPr>
          <p:cNvGrpSpPr/>
          <p:nvPr/>
        </p:nvGrpSpPr>
        <p:grpSpPr>
          <a:xfrm>
            <a:off x="6810703" y="1889760"/>
            <a:ext cx="4897822" cy="2343629"/>
            <a:chOff x="6810703" y="1889760"/>
            <a:chExt cx="4897822" cy="2343629"/>
          </a:xfrm>
        </p:grpSpPr>
        <p:sp>
          <p:nvSpPr>
            <p:cNvPr id="3" name="TextBox 2">
              <a:extLst>
                <a:ext uri="{FF2B5EF4-FFF2-40B4-BE49-F238E27FC236}">
                  <a16:creationId xmlns:a16="http://schemas.microsoft.com/office/drawing/2014/main" id="{BB783DDC-AEA1-DA36-7FD3-549538F2FC38}"/>
                </a:ext>
              </a:extLst>
            </p:cNvPr>
            <p:cNvSpPr txBox="1"/>
            <p:nvPr/>
          </p:nvSpPr>
          <p:spPr>
            <a:xfrm>
              <a:off x="8755126" y="1889760"/>
              <a:ext cx="2953399" cy="1384995"/>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Minimum attenuation in the C and L Bands</a:t>
              </a:r>
            </a:p>
          </p:txBody>
        </p:sp>
        <p:sp>
          <p:nvSpPr>
            <p:cNvPr id="9" name="Arc 8">
              <a:extLst>
                <a:ext uri="{FF2B5EF4-FFF2-40B4-BE49-F238E27FC236}">
                  <a16:creationId xmlns:a16="http://schemas.microsoft.com/office/drawing/2014/main" id="{6F372151-7707-1B77-3970-FA0A4CC7D7DB}"/>
                </a:ext>
              </a:extLst>
            </p:cNvPr>
            <p:cNvSpPr/>
            <p:nvPr/>
          </p:nvSpPr>
          <p:spPr>
            <a:xfrm>
              <a:off x="6810703" y="2238703"/>
              <a:ext cx="3217423" cy="1994686"/>
            </a:xfrm>
            <a:prstGeom prst="arc">
              <a:avLst>
                <a:gd name="adj1" fmla="val 288997"/>
                <a:gd name="adj2" fmla="val 8491368"/>
              </a:avLst>
            </a:prstGeom>
            <a:ln>
              <a:solidFill>
                <a:schemeClr val="tx2"/>
              </a:solidFill>
              <a:headEnd type="none" w="med" len="med"/>
              <a:tailEnd type="arrow" w="med" len="med"/>
            </a:ln>
            <a:effectLst>
              <a:glow rad="152400">
                <a:srgbClr val="FFFFFF">
                  <a:alpha val="80000"/>
                </a:srgbClr>
              </a:glo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sp>
        <p:nvSpPr>
          <p:cNvPr id="10" name="TextBox 9">
            <a:extLst>
              <a:ext uri="{FF2B5EF4-FFF2-40B4-BE49-F238E27FC236}">
                <a16:creationId xmlns:a16="http://schemas.microsoft.com/office/drawing/2014/main" id="{9FFFF1A7-A1F3-4726-16ED-A5F8EFA947DA}"/>
              </a:ext>
            </a:extLst>
          </p:cNvPr>
          <p:cNvSpPr txBox="1"/>
          <p:nvPr/>
        </p:nvSpPr>
        <p:spPr>
          <a:xfrm>
            <a:off x="8632618" y="4303491"/>
            <a:ext cx="3217423" cy="1815882"/>
          </a:xfrm>
          <a:prstGeom prst="rect">
            <a:avLst/>
          </a:prstGeom>
        </p:spPr>
        <p:txBody>
          <a:bodyPr vert="horz" wrap="square" lIns="91440" tIns="45720" rIns="91440" bIns="45720" rtlCol="0">
            <a:spAutoFit/>
          </a:bodyPr>
          <a:lstStyle/>
          <a:p>
            <a:pPr algn="ctr">
              <a:spcBef>
                <a:spcPct val="20000"/>
              </a:spcBef>
              <a:buClr>
                <a:srgbClr val="6D6E71"/>
              </a:buClr>
            </a:pPr>
            <a:r>
              <a:rPr lang="en-US" sz="2800" dirty="0">
                <a:solidFill>
                  <a:schemeClr val="tx2"/>
                </a:solidFill>
              </a:rPr>
              <a:t>Note: When I talk about “capacity limits”, I’m assuming C+L operation</a:t>
            </a:r>
          </a:p>
        </p:txBody>
      </p:sp>
    </p:spTree>
    <p:extLst>
      <p:ext uri="{BB962C8B-B14F-4D97-AF65-F5344CB8AC3E}">
        <p14:creationId xmlns:p14="http://schemas.microsoft.com/office/powerpoint/2010/main" val="203489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09D61-2EFF-4EC5-9BA2-5C20731B03EB}"/>
              </a:ext>
            </a:extLst>
          </p:cNvPr>
          <p:cNvSpPr>
            <a:spLocks noGrp="1"/>
          </p:cNvSpPr>
          <p:nvPr>
            <p:ph type="title"/>
          </p:nvPr>
        </p:nvSpPr>
        <p:spPr/>
        <p:txBody>
          <a:bodyPr/>
          <a:lstStyle/>
          <a:p>
            <a:r>
              <a:rPr lang="en-US" dirty="0"/>
              <a:t>Don’t shout so loud: </a:t>
            </a:r>
            <a:r>
              <a:rPr lang="en-US" b="1" i="1" dirty="0">
                <a:solidFill>
                  <a:schemeClr val="accent6"/>
                </a:solidFill>
              </a:rPr>
              <a:t>What is a nonlinear effect?</a:t>
            </a:r>
          </a:p>
        </p:txBody>
      </p:sp>
      <p:grpSp>
        <p:nvGrpSpPr>
          <p:cNvPr id="11" name="Group 10">
            <a:extLst>
              <a:ext uri="{FF2B5EF4-FFF2-40B4-BE49-F238E27FC236}">
                <a16:creationId xmlns:a16="http://schemas.microsoft.com/office/drawing/2014/main" id="{5D0DC36E-DF92-4F7C-A13B-5033E06315C7}"/>
              </a:ext>
            </a:extLst>
          </p:cNvPr>
          <p:cNvGrpSpPr/>
          <p:nvPr/>
        </p:nvGrpSpPr>
        <p:grpSpPr>
          <a:xfrm>
            <a:off x="298382" y="1409690"/>
            <a:ext cx="5005137" cy="2597511"/>
            <a:chOff x="298382" y="1526072"/>
            <a:chExt cx="5005137" cy="2597511"/>
          </a:xfrm>
        </p:grpSpPr>
        <p:pic>
          <p:nvPicPr>
            <p:cNvPr id="5" name="Graphic 4" descr="Volume with solid fill">
              <a:extLst>
                <a:ext uri="{FF2B5EF4-FFF2-40B4-BE49-F238E27FC236}">
                  <a16:creationId xmlns:a16="http://schemas.microsoft.com/office/drawing/2014/main" id="{0A2186AD-54A3-4390-AB06-CD1634FB7C7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39468" y="2620438"/>
              <a:ext cx="1503145" cy="1503145"/>
            </a:xfrm>
            <a:prstGeom prst="rect">
              <a:avLst/>
            </a:prstGeom>
          </p:spPr>
        </p:pic>
        <p:sp>
          <p:nvSpPr>
            <p:cNvPr id="6" name="TextBox 5">
              <a:extLst>
                <a:ext uri="{FF2B5EF4-FFF2-40B4-BE49-F238E27FC236}">
                  <a16:creationId xmlns:a16="http://schemas.microsoft.com/office/drawing/2014/main" id="{86E99D3A-C560-4959-9E60-C34290A1CE2F}"/>
                </a:ext>
              </a:extLst>
            </p:cNvPr>
            <p:cNvSpPr txBox="1"/>
            <p:nvPr/>
          </p:nvSpPr>
          <p:spPr>
            <a:xfrm>
              <a:off x="298382" y="1526072"/>
              <a:ext cx="5005137" cy="830997"/>
            </a:xfrm>
            <a:prstGeom prst="rect">
              <a:avLst/>
            </a:prstGeom>
          </p:spPr>
          <p:txBody>
            <a:bodyPr vert="horz" wrap="square" lIns="91440" tIns="45720" rIns="91440" bIns="45720" rtlCol="0">
              <a:spAutoFit/>
            </a:bodyPr>
            <a:lstStyle/>
            <a:p>
              <a:pPr algn="ctr">
                <a:spcBef>
                  <a:spcPct val="20000"/>
                </a:spcBef>
                <a:buClr>
                  <a:srgbClr val="6D6E71"/>
                </a:buClr>
              </a:pPr>
              <a:r>
                <a:rPr lang="en-US" sz="2400" dirty="0">
                  <a:solidFill>
                    <a:schemeClr val="tx2"/>
                  </a:solidFill>
                </a:rPr>
                <a:t>Imagine you’re listening to music and you keep turning up the volume</a:t>
              </a:r>
            </a:p>
          </p:txBody>
        </p:sp>
      </p:grpSp>
      <p:sp>
        <p:nvSpPr>
          <p:cNvPr id="10" name="TextBox 9">
            <a:extLst>
              <a:ext uri="{FF2B5EF4-FFF2-40B4-BE49-F238E27FC236}">
                <a16:creationId xmlns:a16="http://schemas.microsoft.com/office/drawing/2014/main" id="{04964CBE-DE4F-4E47-9F1F-CA683E761E92}"/>
              </a:ext>
            </a:extLst>
          </p:cNvPr>
          <p:cNvSpPr txBox="1"/>
          <p:nvPr/>
        </p:nvSpPr>
        <p:spPr>
          <a:xfrm>
            <a:off x="541215" y="4498892"/>
            <a:ext cx="5005137" cy="1200329"/>
          </a:xfrm>
          <a:prstGeom prst="rect">
            <a:avLst/>
          </a:prstGeom>
        </p:spPr>
        <p:txBody>
          <a:bodyPr vert="horz" wrap="square" lIns="91440" tIns="45720" rIns="91440" bIns="45720" rtlCol="0">
            <a:spAutoFit/>
          </a:bodyPr>
          <a:lstStyle/>
          <a:p>
            <a:pPr algn="ctr">
              <a:spcBef>
                <a:spcPct val="20000"/>
              </a:spcBef>
              <a:buClr>
                <a:srgbClr val="6D6E71"/>
              </a:buClr>
            </a:pPr>
            <a:r>
              <a:rPr lang="en-US" sz="2400" dirty="0">
                <a:solidFill>
                  <a:schemeClr val="tx2"/>
                </a:solidFill>
              </a:rPr>
              <a:t>It’s similar with optical fiber – above a certain optical power level the signals will distort – adding lots of noise!!</a:t>
            </a:r>
          </a:p>
        </p:txBody>
      </p:sp>
      <p:grpSp>
        <p:nvGrpSpPr>
          <p:cNvPr id="15" name="Group 14">
            <a:extLst>
              <a:ext uri="{FF2B5EF4-FFF2-40B4-BE49-F238E27FC236}">
                <a16:creationId xmlns:a16="http://schemas.microsoft.com/office/drawing/2014/main" id="{70BA0FFB-166B-4A6C-A119-F53C24A40B8A}"/>
              </a:ext>
            </a:extLst>
          </p:cNvPr>
          <p:cNvGrpSpPr/>
          <p:nvPr/>
        </p:nvGrpSpPr>
        <p:grpSpPr>
          <a:xfrm>
            <a:off x="5858256" y="4306866"/>
            <a:ext cx="5896498" cy="1791260"/>
            <a:chOff x="5858256" y="4423248"/>
            <a:chExt cx="5896498" cy="1791260"/>
          </a:xfrm>
        </p:grpSpPr>
        <p:sp>
          <p:nvSpPr>
            <p:cNvPr id="13" name="Arrow: Down 12">
              <a:extLst>
                <a:ext uri="{FF2B5EF4-FFF2-40B4-BE49-F238E27FC236}">
                  <a16:creationId xmlns:a16="http://schemas.microsoft.com/office/drawing/2014/main" id="{3D8D7C69-48D9-4D2D-9423-4A3004E4FC84}"/>
                </a:ext>
              </a:extLst>
            </p:cNvPr>
            <p:cNvSpPr/>
            <p:nvPr/>
          </p:nvSpPr>
          <p:spPr>
            <a:xfrm rot="16200000">
              <a:off x="5803392" y="4909114"/>
              <a:ext cx="722376" cy="612648"/>
            </a:xfrm>
            <a:prstGeom prst="downArrow">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4" name="TextBox 13">
              <a:extLst>
                <a:ext uri="{FF2B5EF4-FFF2-40B4-BE49-F238E27FC236}">
                  <a16:creationId xmlns:a16="http://schemas.microsoft.com/office/drawing/2014/main" id="{73290BC1-3D2D-4B70-B827-FCEB2E224374}"/>
                </a:ext>
              </a:extLst>
            </p:cNvPr>
            <p:cNvSpPr txBox="1"/>
            <p:nvPr/>
          </p:nvSpPr>
          <p:spPr>
            <a:xfrm>
              <a:off x="6363478" y="4423248"/>
              <a:ext cx="5391276" cy="1791260"/>
            </a:xfrm>
            <a:prstGeom prst="rect">
              <a:avLst/>
            </a:prstGeom>
          </p:spPr>
          <p:txBody>
            <a:bodyPr vert="horz" wrap="square" lIns="91440" tIns="45720" rIns="91440" bIns="45720" rtlCol="0">
              <a:spAutoFit/>
            </a:bodyPr>
            <a:lstStyle/>
            <a:p>
              <a:pPr algn="ctr">
                <a:spcBef>
                  <a:spcPct val="20000"/>
                </a:spcBef>
                <a:buClr>
                  <a:srgbClr val="6D6E71"/>
                </a:buClr>
              </a:pPr>
              <a:r>
                <a:rPr lang="en-US" sz="2400" dirty="0">
                  <a:solidFill>
                    <a:schemeClr val="tx2"/>
                  </a:solidFill>
                </a:rPr>
                <a:t>There are several nonlinear effects</a:t>
              </a:r>
            </a:p>
            <a:p>
              <a:pPr marL="914400" indent="-228600">
                <a:spcBef>
                  <a:spcPct val="20000"/>
                </a:spcBef>
                <a:buClr>
                  <a:srgbClr val="6D6E71"/>
                </a:buClr>
                <a:buFont typeface="Arial" panose="020B0604020202020204" pitchFamily="34" charset="0"/>
                <a:buChar char="•"/>
              </a:pPr>
              <a:r>
                <a:rPr lang="en-US" sz="2400" dirty="0">
                  <a:solidFill>
                    <a:schemeClr val="tx2"/>
                  </a:solidFill>
                </a:rPr>
                <a:t>Self Phase Modulation</a:t>
              </a:r>
            </a:p>
            <a:p>
              <a:pPr marL="914400" indent="-228600">
                <a:spcBef>
                  <a:spcPct val="20000"/>
                </a:spcBef>
                <a:buClr>
                  <a:srgbClr val="6D6E71"/>
                </a:buClr>
                <a:buFont typeface="Arial" panose="020B0604020202020204" pitchFamily="34" charset="0"/>
                <a:buChar char="•"/>
              </a:pPr>
              <a:r>
                <a:rPr lang="en-US" sz="2400" dirty="0">
                  <a:solidFill>
                    <a:schemeClr val="tx2"/>
                  </a:solidFill>
                </a:rPr>
                <a:t>Cross Phase Modulation</a:t>
              </a:r>
            </a:p>
            <a:p>
              <a:pPr marL="914400" indent="-228600">
                <a:spcBef>
                  <a:spcPct val="20000"/>
                </a:spcBef>
                <a:buClr>
                  <a:srgbClr val="6D6E71"/>
                </a:buClr>
                <a:buFont typeface="Arial" panose="020B0604020202020204" pitchFamily="34" charset="0"/>
                <a:buChar char="•"/>
              </a:pPr>
              <a:r>
                <a:rPr lang="en-US" sz="2400" dirty="0">
                  <a:solidFill>
                    <a:schemeClr val="tx2"/>
                  </a:solidFill>
                </a:rPr>
                <a:t>Four Wave Mixing</a:t>
              </a:r>
            </a:p>
          </p:txBody>
        </p:sp>
      </p:grpSp>
      <p:grpSp>
        <p:nvGrpSpPr>
          <p:cNvPr id="18" name="Group 17">
            <a:extLst>
              <a:ext uri="{FF2B5EF4-FFF2-40B4-BE49-F238E27FC236}">
                <a16:creationId xmlns:a16="http://schemas.microsoft.com/office/drawing/2014/main" id="{0C15912D-09F6-4F43-B94E-12A4312AFB5C}"/>
              </a:ext>
            </a:extLst>
          </p:cNvPr>
          <p:cNvGrpSpPr/>
          <p:nvPr/>
        </p:nvGrpSpPr>
        <p:grpSpPr>
          <a:xfrm>
            <a:off x="6246269" y="1409689"/>
            <a:ext cx="5005137" cy="2774679"/>
            <a:chOff x="6246269" y="1526071"/>
            <a:chExt cx="5005137" cy="2774679"/>
          </a:xfrm>
        </p:grpSpPr>
        <p:sp>
          <p:nvSpPr>
            <p:cNvPr id="9" name="TextBox 8">
              <a:extLst>
                <a:ext uri="{FF2B5EF4-FFF2-40B4-BE49-F238E27FC236}">
                  <a16:creationId xmlns:a16="http://schemas.microsoft.com/office/drawing/2014/main" id="{DB88E501-F67F-4877-AF9C-7CA1E8EE8B65}"/>
                </a:ext>
              </a:extLst>
            </p:cNvPr>
            <p:cNvSpPr txBox="1"/>
            <p:nvPr/>
          </p:nvSpPr>
          <p:spPr>
            <a:xfrm>
              <a:off x="6246269" y="1526071"/>
              <a:ext cx="5005137" cy="830997"/>
            </a:xfrm>
            <a:prstGeom prst="rect">
              <a:avLst/>
            </a:prstGeom>
          </p:spPr>
          <p:txBody>
            <a:bodyPr vert="horz" wrap="square" lIns="91440" tIns="45720" rIns="91440" bIns="45720" rtlCol="0">
              <a:spAutoFit/>
            </a:bodyPr>
            <a:lstStyle/>
            <a:p>
              <a:pPr algn="ctr">
                <a:spcBef>
                  <a:spcPct val="20000"/>
                </a:spcBef>
                <a:buClr>
                  <a:srgbClr val="6D6E71"/>
                </a:buClr>
              </a:pPr>
              <a:r>
                <a:rPr lang="en-US" sz="2400" dirty="0">
                  <a:solidFill>
                    <a:schemeClr val="tx2"/>
                  </a:solidFill>
                </a:rPr>
                <a:t>Above a certain volume level the music will become distorted</a:t>
              </a:r>
            </a:p>
          </p:txBody>
        </p:sp>
        <p:pic>
          <p:nvPicPr>
            <p:cNvPr id="2050" name="Picture 2" descr="Pin di ISB204-English">
              <a:extLst>
                <a:ext uri="{FF2B5EF4-FFF2-40B4-BE49-F238E27FC236}">
                  <a16:creationId xmlns:a16="http://schemas.microsoft.com/office/drawing/2014/main" id="{4CEFAFC0-DCD1-49EA-B749-952E9B3434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6590" y="2357068"/>
              <a:ext cx="2739992" cy="194368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776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ipe(left)">
                                      <p:cBhvr>
                                        <p:cTn id="2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89655-A0E2-4AAF-93DF-9E66C1F24833}"/>
              </a:ext>
            </a:extLst>
          </p:cNvPr>
          <p:cNvSpPr>
            <a:spLocks noGrp="1"/>
          </p:cNvSpPr>
          <p:nvPr>
            <p:ph type="title"/>
          </p:nvPr>
        </p:nvSpPr>
        <p:spPr/>
        <p:txBody>
          <a:bodyPr/>
          <a:lstStyle/>
          <a:p>
            <a:r>
              <a:rPr lang="en-US" dirty="0"/>
              <a:t>Capacity Limits of Today’s Optical Fiber</a:t>
            </a:r>
          </a:p>
        </p:txBody>
      </p:sp>
      <p:grpSp>
        <p:nvGrpSpPr>
          <p:cNvPr id="9" name="Group 8">
            <a:extLst>
              <a:ext uri="{FF2B5EF4-FFF2-40B4-BE49-F238E27FC236}">
                <a16:creationId xmlns:a16="http://schemas.microsoft.com/office/drawing/2014/main" id="{23C2521E-5961-D921-F1AB-6C4478E9BDCD}"/>
              </a:ext>
            </a:extLst>
          </p:cNvPr>
          <p:cNvGrpSpPr/>
          <p:nvPr/>
        </p:nvGrpSpPr>
        <p:grpSpPr>
          <a:xfrm>
            <a:off x="2414901" y="3671101"/>
            <a:ext cx="7918158" cy="1377629"/>
            <a:chOff x="2414901" y="3671101"/>
            <a:chExt cx="7918158" cy="1377629"/>
          </a:xfrm>
        </p:grpSpPr>
        <p:grpSp>
          <p:nvGrpSpPr>
            <p:cNvPr id="24" name="Group 23">
              <a:extLst>
                <a:ext uri="{FF2B5EF4-FFF2-40B4-BE49-F238E27FC236}">
                  <a16:creationId xmlns:a16="http://schemas.microsoft.com/office/drawing/2014/main" id="{84947110-077D-43E1-A991-46B1B5015A40}"/>
                </a:ext>
              </a:extLst>
            </p:cNvPr>
            <p:cNvGrpSpPr/>
            <p:nvPr/>
          </p:nvGrpSpPr>
          <p:grpSpPr>
            <a:xfrm>
              <a:off x="2414901" y="4318831"/>
              <a:ext cx="7918158" cy="729899"/>
              <a:chOff x="3120579" y="3747361"/>
              <a:chExt cx="5175504" cy="477080"/>
            </a:xfrm>
          </p:grpSpPr>
          <p:grpSp>
            <p:nvGrpSpPr>
              <p:cNvPr id="22" name="Group 21">
                <a:extLst>
                  <a:ext uri="{FF2B5EF4-FFF2-40B4-BE49-F238E27FC236}">
                    <a16:creationId xmlns:a16="http://schemas.microsoft.com/office/drawing/2014/main" id="{259DC1AF-2334-4F0B-A0DC-5FFC6B3F5471}"/>
                  </a:ext>
                </a:extLst>
              </p:cNvPr>
              <p:cNvGrpSpPr/>
              <p:nvPr/>
            </p:nvGrpSpPr>
            <p:grpSpPr>
              <a:xfrm>
                <a:off x="3120579" y="3747361"/>
                <a:ext cx="5175504" cy="477079"/>
                <a:chOff x="3120579" y="4258788"/>
                <a:chExt cx="5175504" cy="477079"/>
              </a:xfrm>
            </p:grpSpPr>
            <p:sp>
              <p:nvSpPr>
                <p:cNvPr id="20" name="Rectangle 19">
                  <a:extLst>
                    <a:ext uri="{FF2B5EF4-FFF2-40B4-BE49-F238E27FC236}">
                      <a16:creationId xmlns:a16="http://schemas.microsoft.com/office/drawing/2014/main" id="{6016191A-45C8-4ACE-9356-16F180C0ABB5}"/>
                    </a:ext>
                  </a:extLst>
                </p:cNvPr>
                <p:cNvSpPr/>
                <p:nvPr/>
              </p:nvSpPr>
              <p:spPr>
                <a:xfrm>
                  <a:off x="3120579" y="4258788"/>
                  <a:ext cx="2587752" cy="477079"/>
                </a:xfrm>
                <a:prstGeom prst="rect">
                  <a:avLst/>
                </a:prstGeom>
                <a:pattFill prst="wdDnDiag">
                  <a:fgClr>
                    <a:srgbClr val="D8C0C0"/>
                  </a:fgClr>
                  <a:bgClr>
                    <a:schemeClr val="bg1"/>
                  </a:bgClr>
                </a:pattFill>
                <a:ln w="28575">
                  <a:solidFill>
                    <a:srgbClr val="D8C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21" name="Rectangle 20">
                  <a:extLst>
                    <a:ext uri="{FF2B5EF4-FFF2-40B4-BE49-F238E27FC236}">
                      <a16:creationId xmlns:a16="http://schemas.microsoft.com/office/drawing/2014/main" id="{4BA42968-CCC2-4201-997F-E874EC8D76E2}"/>
                    </a:ext>
                  </a:extLst>
                </p:cNvPr>
                <p:cNvSpPr/>
                <p:nvPr/>
              </p:nvSpPr>
              <p:spPr>
                <a:xfrm>
                  <a:off x="5708331" y="4258788"/>
                  <a:ext cx="2587752" cy="477079"/>
                </a:xfrm>
                <a:prstGeom prst="rect">
                  <a:avLst/>
                </a:prstGeom>
                <a:pattFill prst="wdDnDiag">
                  <a:fgClr>
                    <a:srgbClr val="F9DDC8"/>
                  </a:fgClr>
                  <a:bgClr>
                    <a:schemeClr val="bg1"/>
                  </a:bgClr>
                </a:pattFill>
                <a:ln w="28575">
                  <a:solidFill>
                    <a:srgbClr val="F9DDC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grpSp>
            <p:nvGrpSpPr>
              <p:cNvPr id="12" name="Group 11">
                <a:extLst>
                  <a:ext uri="{FF2B5EF4-FFF2-40B4-BE49-F238E27FC236}">
                    <a16:creationId xmlns:a16="http://schemas.microsoft.com/office/drawing/2014/main" id="{A42CF12A-63D1-4BB2-86C6-EF21C3A028CA}"/>
                  </a:ext>
                </a:extLst>
              </p:cNvPr>
              <p:cNvGrpSpPr/>
              <p:nvPr/>
            </p:nvGrpSpPr>
            <p:grpSpPr>
              <a:xfrm>
                <a:off x="3637721" y="3747361"/>
                <a:ext cx="4141220" cy="477080"/>
                <a:chOff x="4933122" y="1712842"/>
                <a:chExt cx="1828800" cy="477080"/>
              </a:xfrm>
            </p:grpSpPr>
            <p:sp>
              <p:nvSpPr>
                <p:cNvPr id="13" name="Rectangle 12">
                  <a:extLst>
                    <a:ext uri="{FF2B5EF4-FFF2-40B4-BE49-F238E27FC236}">
                      <a16:creationId xmlns:a16="http://schemas.microsoft.com/office/drawing/2014/main" id="{79CCAAEC-A70A-4C90-8874-5F880F2B5D32}"/>
                    </a:ext>
                  </a:extLst>
                </p:cNvPr>
                <p:cNvSpPr/>
                <p:nvPr/>
              </p:nvSpPr>
              <p:spPr>
                <a:xfrm>
                  <a:off x="4933122" y="1712842"/>
                  <a:ext cx="914400" cy="477079"/>
                </a:xfrm>
                <a:prstGeom prst="rect">
                  <a:avLst/>
                </a:prstGeom>
                <a:solidFill>
                  <a:srgbClr val="D8C0C0"/>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C-Band</a:t>
                  </a:r>
                </a:p>
              </p:txBody>
            </p:sp>
            <p:sp>
              <p:nvSpPr>
                <p:cNvPr id="14" name="Rectangle 13">
                  <a:extLst>
                    <a:ext uri="{FF2B5EF4-FFF2-40B4-BE49-F238E27FC236}">
                      <a16:creationId xmlns:a16="http://schemas.microsoft.com/office/drawing/2014/main" id="{99C379E7-5DDD-4D2B-9DE7-DC8B6F3F5248}"/>
                    </a:ext>
                  </a:extLst>
                </p:cNvPr>
                <p:cNvSpPr/>
                <p:nvPr/>
              </p:nvSpPr>
              <p:spPr>
                <a:xfrm>
                  <a:off x="5847522" y="1712843"/>
                  <a:ext cx="914400" cy="477079"/>
                </a:xfrm>
                <a:prstGeom prst="rect">
                  <a:avLst/>
                </a:prstGeom>
                <a:solidFill>
                  <a:srgbClr val="F9DDC8"/>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L-Band</a:t>
                  </a:r>
                </a:p>
              </p:txBody>
            </p:sp>
          </p:grpSp>
          <p:sp>
            <p:nvSpPr>
              <p:cNvPr id="15" name="TextBox 14">
                <a:extLst>
                  <a:ext uri="{FF2B5EF4-FFF2-40B4-BE49-F238E27FC236}">
                    <a16:creationId xmlns:a16="http://schemas.microsoft.com/office/drawing/2014/main" id="{FB544EBF-0B7D-4B79-8ACC-AE3CFE8F8A62}"/>
                  </a:ext>
                </a:extLst>
              </p:cNvPr>
              <p:cNvSpPr txBox="1"/>
              <p:nvPr/>
            </p:nvSpPr>
            <p:spPr>
              <a:xfrm>
                <a:off x="3974423" y="3816623"/>
                <a:ext cx="120745" cy="221287"/>
              </a:xfrm>
              <a:prstGeom prst="rect">
                <a:avLst/>
              </a:prstGeom>
            </p:spPr>
            <p:txBody>
              <a:bodyPr vert="horz" wrap="none" lIns="91440" tIns="45720" rIns="91440" bIns="45720" rtlCol="0">
                <a:spAutoFit/>
              </a:bodyPr>
              <a:lstStyle/>
              <a:p>
                <a:pPr algn="l">
                  <a:spcBef>
                    <a:spcPct val="20000"/>
                  </a:spcBef>
                  <a:buClr>
                    <a:srgbClr val="6D6E71"/>
                  </a:buClr>
                </a:pPr>
                <a:endParaRPr lang="en-US" sz="1600" dirty="0">
                  <a:solidFill>
                    <a:schemeClr val="tx2"/>
                  </a:solidFill>
                </a:endParaRPr>
              </a:p>
            </p:txBody>
          </p:sp>
        </p:grpSp>
        <p:sp>
          <p:nvSpPr>
            <p:cNvPr id="17" name="TextBox 16">
              <a:extLst>
                <a:ext uri="{FF2B5EF4-FFF2-40B4-BE49-F238E27FC236}">
                  <a16:creationId xmlns:a16="http://schemas.microsoft.com/office/drawing/2014/main" id="{50EEDE9A-29C9-47B1-ADAF-D41727D1E55F}"/>
                </a:ext>
              </a:extLst>
            </p:cNvPr>
            <p:cNvSpPr txBox="1"/>
            <p:nvPr/>
          </p:nvSpPr>
          <p:spPr>
            <a:xfrm>
              <a:off x="3980198" y="3671101"/>
              <a:ext cx="1130181"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50 Tb/s</a:t>
              </a:r>
            </a:p>
          </p:txBody>
        </p:sp>
        <p:sp>
          <p:nvSpPr>
            <p:cNvPr id="18" name="TextBox 17">
              <a:extLst>
                <a:ext uri="{FF2B5EF4-FFF2-40B4-BE49-F238E27FC236}">
                  <a16:creationId xmlns:a16="http://schemas.microsoft.com/office/drawing/2014/main" id="{EA1C9782-F6A8-41BA-A9C7-517D590E85A8}"/>
                </a:ext>
              </a:extLst>
            </p:cNvPr>
            <p:cNvSpPr txBox="1"/>
            <p:nvPr/>
          </p:nvSpPr>
          <p:spPr>
            <a:xfrm>
              <a:off x="7935959" y="3681039"/>
              <a:ext cx="1130181"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50 Tb/s</a:t>
              </a:r>
            </a:p>
          </p:txBody>
        </p:sp>
        <p:cxnSp>
          <p:nvCxnSpPr>
            <p:cNvPr id="30" name="Straight Connector 29">
              <a:extLst>
                <a:ext uri="{FF2B5EF4-FFF2-40B4-BE49-F238E27FC236}">
                  <a16:creationId xmlns:a16="http://schemas.microsoft.com/office/drawing/2014/main" id="{14276A2B-ABAC-48ED-B4B4-F0DBB5DCB43F}"/>
                </a:ext>
              </a:extLst>
            </p:cNvPr>
            <p:cNvCxnSpPr>
              <a:cxnSpLocks/>
            </p:cNvCxnSpPr>
            <p:nvPr/>
          </p:nvCxnSpPr>
          <p:spPr>
            <a:xfrm>
              <a:off x="2424840" y="4144618"/>
              <a:ext cx="3876569"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8FA92AC-B65D-4761-BBEA-A87C2851FFD5}"/>
                </a:ext>
              </a:extLst>
            </p:cNvPr>
            <p:cNvCxnSpPr>
              <a:cxnSpLocks/>
            </p:cNvCxnSpPr>
            <p:nvPr/>
          </p:nvCxnSpPr>
          <p:spPr>
            <a:xfrm>
              <a:off x="6413420" y="4144618"/>
              <a:ext cx="3876569"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B9D5D30F-A929-144D-2FCB-7181C7D32FEE}"/>
              </a:ext>
            </a:extLst>
          </p:cNvPr>
          <p:cNvGrpSpPr/>
          <p:nvPr/>
        </p:nvGrpSpPr>
        <p:grpSpPr>
          <a:xfrm>
            <a:off x="3206092" y="1667806"/>
            <a:ext cx="6335776" cy="1401573"/>
            <a:chOff x="3206092" y="1667806"/>
            <a:chExt cx="6335776" cy="1401573"/>
          </a:xfrm>
        </p:grpSpPr>
        <p:sp>
          <p:nvSpPr>
            <p:cNvPr id="10" name="TextBox 9">
              <a:extLst>
                <a:ext uri="{FF2B5EF4-FFF2-40B4-BE49-F238E27FC236}">
                  <a16:creationId xmlns:a16="http://schemas.microsoft.com/office/drawing/2014/main" id="{9DD1B0D6-29E1-4E2D-BB32-B3C0C0BEF6A1}"/>
                </a:ext>
              </a:extLst>
            </p:cNvPr>
            <p:cNvSpPr txBox="1"/>
            <p:nvPr/>
          </p:nvSpPr>
          <p:spPr>
            <a:xfrm>
              <a:off x="4244815" y="1667806"/>
              <a:ext cx="1130181"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42 Tb/s</a:t>
              </a:r>
            </a:p>
          </p:txBody>
        </p:sp>
        <p:sp>
          <p:nvSpPr>
            <p:cNvPr id="11" name="TextBox 10">
              <a:extLst>
                <a:ext uri="{FF2B5EF4-FFF2-40B4-BE49-F238E27FC236}">
                  <a16:creationId xmlns:a16="http://schemas.microsoft.com/office/drawing/2014/main" id="{49E3AA31-D607-415F-A45E-2B701AAD1E2B}"/>
                </a:ext>
              </a:extLst>
            </p:cNvPr>
            <p:cNvSpPr txBox="1"/>
            <p:nvPr/>
          </p:nvSpPr>
          <p:spPr>
            <a:xfrm>
              <a:off x="7500945" y="1668384"/>
              <a:ext cx="1130181"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42 Tb/s</a:t>
              </a:r>
            </a:p>
          </p:txBody>
        </p:sp>
        <p:grpSp>
          <p:nvGrpSpPr>
            <p:cNvPr id="25" name="Group 24">
              <a:extLst>
                <a:ext uri="{FF2B5EF4-FFF2-40B4-BE49-F238E27FC236}">
                  <a16:creationId xmlns:a16="http://schemas.microsoft.com/office/drawing/2014/main" id="{B53BDB1E-0BD4-445A-A48D-8164261EC9EE}"/>
                </a:ext>
              </a:extLst>
            </p:cNvPr>
            <p:cNvGrpSpPr/>
            <p:nvPr/>
          </p:nvGrpSpPr>
          <p:grpSpPr>
            <a:xfrm>
              <a:off x="3206092" y="2339480"/>
              <a:ext cx="6335776" cy="729899"/>
              <a:chOff x="3637721" y="2219736"/>
              <a:chExt cx="4141220" cy="477080"/>
            </a:xfrm>
          </p:grpSpPr>
          <p:grpSp>
            <p:nvGrpSpPr>
              <p:cNvPr id="7" name="Group 6">
                <a:extLst>
                  <a:ext uri="{FF2B5EF4-FFF2-40B4-BE49-F238E27FC236}">
                    <a16:creationId xmlns:a16="http://schemas.microsoft.com/office/drawing/2014/main" id="{EF4189B8-77C4-4053-BEF4-8150A9BF2401}"/>
                  </a:ext>
                </a:extLst>
              </p:cNvPr>
              <p:cNvGrpSpPr/>
              <p:nvPr/>
            </p:nvGrpSpPr>
            <p:grpSpPr>
              <a:xfrm>
                <a:off x="3637721" y="2219736"/>
                <a:ext cx="4141220" cy="477080"/>
                <a:chOff x="4933122" y="1712842"/>
                <a:chExt cx="1828800" cy="477080"/>
              </a:xfrm>
            </p:grpSpPr>
            <p:sp>
              <p:nvSpPr>
                <p:cNvPr id="5" name="Rectangle 4">
                  <a:extLst>
                    <a:ext uri="{FF2B5EF4-FFF2-40B4-BE49-F238E27FC236}">
                      <a16:creationId xmlns:a16="http://schemas.microsoft.com/office/drawing/2014/main" id="{7E335247-0D51-418D-9182-215EEE7C6061}"/>
                    </a:ext>
                  </a:extLst>
                </p:cNvPr>
                <p:cNvSpPr/>
                <p:nvPr/>
              </p:nvSpPr>
              <p:spPr>
                <a:xfrm>
                  <a:off x="4933122" y="1712842"/>
                  <a:ext cx="914400" cy="477079"/>
                </a:xfrm>
                <a:prstGeom prst="rect">
                  <a:avLst/>
                </a:prstGeom>
                <a:solidFill>
                  <a:srgbClr val="D8C0C0"/>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Extended C-Band</a:t>
                  </a:r>
                </a:p>
              </p:txBody>
            </p:sp>
            <p:sp>
              <p:nvSpPr>
                <p:cNvPr id="6" name="Rectangle 5">
                  <a:extLst>
                    <a:ext uri="{FF2B5EF4-FFF2-40B4-BE49-F238E27FC236}">
                      <a16:creationId xmlns:a16="http://schemas.microsoft.com/office/drawing/2014/main" id="{1DDD7C05-BBD7-4978-80BF-CB31E0C1267C}"/>
                    </a:ext>
                  </a:extLst>
                </p:cNvPr>
                <p:cNvSpPr/>
                <p:nvPr/>
              </p:nvSpPr>
              <p:spPr>
                <a:xfrm>
                  <a:off x="5847522" y="1712843"/>
                  <a:ext cx="914400" cy="477079"/>
                </a:xfrm>
                <a:prstGeom prst="rect">
                  <a:avLst/>
                </a:prstGeom>
                <a:solidFill>
                  <a:srgbClr val="F9DDC8"/>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Extended L-Band</a:t>
                  </a:r>
                </a:p>
              </p:txBody>
            </p:sp>
          </p:grpSp>
          <p:sp>
            <p:nvSpPr>
              <p:cNvPr id="8" name="TextBox 7">
                <a:extLst>
                  <a:ext uri="{FF2B5EF4-FFF2-40B4-BE49-F238E27FC236}">
                    <a16:creationId xmlns:a16="http://schemas.microsoft.com/office/drawing/2014/main" id="{62C14CE2-6B16-4090-8B02-2F8EABA46C40}"/>
                  </a:ext>
                </a:extLst>
              </p:cNvPr>
              <p:cNvSpPr txBox="1"/>
              <p:nvPr/>
            </p:nvSpPr>
            <p:spPr>
              <a:xfrm>
                <a:off x="3964484" y="2288998"/>
                <a:ext cx="120745" cy="221287"/>
              </a:xfrm>
              <a:prstGeom prst="rect">
                <a:avLst/>
              </a:prstGeom>
            </p:spPr>
            <p:txBody>
              <a:bodyPr vert="horz" wrap="none" lIns="91440" tIns="45720" rIns="91440" bIns="45720" rtlCol="0">
                <a:spAutoFit/>
              </a:bodyPr>
              <a:lstStyle/>
              <a:p>
                <a:pPr algn="l">
                  <a:spcBef>
                    <a:spcPct val="20000"/>
                  </a:spcBef>
                  <a:buClr>
                    <a:srgbClr val="6D6E71"/>
                  </a:buClr>
                </a:pPr>
                <a:endParaRPr lang="en-US" sz="1600" dirty="0">
                  <a:solidFill>
                    <a:schemeClr val="tx2"/>
                  </a:solidFill>
                </a:endParaRPr>
              </a:p>
            </p:txBody>
          </p:sp>
        </p:grpSp>
        <p:cxnSp>
          <p:nvCxnSpPr>
            <p:cNvPr id="33" name="Straight Connector 32">
              <a:extLst>
                <a:ext uri="{FF2B5EF4-FFF2-40B4-BE49-F238E27FC236}">
                  <a16:creationId xmlns:a16="http://schemas.microsoft.com/office/drawing/2014/main" id="{E824CEBE-4786-4AFC-A8FA-FEAEE5883D0B}"/>
                </a:ext>
              </a:extLst>
            </p:cNvPr>
            <p:cNvCxnSpPr>
              <a:cxnSpLocks/>
            </p:cNvCxnSpPr>
            <p:nvPr/>
          </p:nvCxnSpPr>
          <p:spPr>
            <a:xfrm>
              <a:off x="3276208" y="2140226"/>
              <a:ext cx="3025201"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546F8FC-7CA3-4843-923E-7B7CC5D5E918}"/>
                </a:ext>
              </a:extLst>
            </p:cNvPr>
            <p:cNvCxnSpPr>
              <a:cxnSpLocks/>
            </p:cNvCxnSpPr>
            <p:nvPr/>
          </p:nvCxnSpPr>
          <p:spPr>
            <a:xfrm>
              <a:off x="6413420" y="2140226"/>
              <a:ext cx="3025201"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2485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87BF9-1A4A-432F-8E8C-A46E7ECCDFA5}"/>
              </a:ext>
            </a:extLst>
          </p:cNvPr>
          <p:cNvSpPr>
            <a:spLocks noGrp="1"/>
          </p:cNvSpPr>
          <p:nvPr>
            <p:ph type="title"/>
          </p:nvPr>
        </p:nvSpPr>
        <p:spPr/>
        <p:txBody>
          <a:bodyPr/>
          <a:lstStyle/>
          <a:p>
            <a:r>
              <a:rPr lang="en-US" dirty="0"/>
              <a:t>Capacity at Longer Reach</a:t>
            </a:r>
          </a:p>
        </p:txBody>
      </p:sp>
      <p:grpSp>
        <p:nvGrpSpPr>
          <p:cNvPr id="39" name="Group 38">
            <a:extLst>
              <a:ext uri="{FF2B5EF4-FFF2-40B4-BE49-F238E27FC236}">
                <a16:creationId xmlns:a16="http://schemas.microsoft.com/office/drawing/2014/main" id="{747EE678-3F7E-483D-9313-743438BD90BF}"/>
              </a:ext>
            </a:extLst>
          </p:cNvPr>
          <p:cNvGrpSpPr/>
          <p:nvPr/>
        </p:nvGrpSpPr>
        <p:grpSpPr>
          <a:xfrm>
            <a:off x="443877" y="1174481"/>
            <a:ext cx="11008905" cy="1377629"/>
            <a:chOff x="443877" y="1174481"/>
            <a:chExt cx="11008905" cy="1377629"/>
          </a:xfrm>
        </p:grpSpPr>
        <p:grpSp>
          <p:nvGrpSpPr>
            <p:cNvPr id="5" name="Group 4">
              <a:extLst>
                <a:ext uri="{FF2B5EF4-FFF2-40B4-BE49-F238E27FC236}">
                  <a16:creationId xmlns:a16="http://schemas.microsoft.com/office/drawing/2014/main" id="{DB56E455-420A-42A0-8F47-FF6A90A6A319}"/>
                </a:ext>
              </a:extLst>
            </p:cNvPr>
            <p:cNvGrpSpPr/>
            <p:nvPr/>
          </p:nvGrpSpPr>
          <p:grpSpPr>
            <a:xfrm>
              <a:off x="443877" y="1822211"/>
              <a:ext cx="7918158" cy="729899"/>
              <a:chOff x="3120579" y="3747361"/>
              <a:chExt cx="5175504" cy="477080"/>
            </a:xfrm>
          </p:grpSpPr>
          <p:grpSp>
            <p:nvGrpSpPr>
              <p:cNvPr id="6" name="Group 5">
                <a:extLst>
                  <a:ext uri="{FF2B5EF4-FFF2-40B4-BE49-F238E27FC236}">
                    <a16:creationId xmlns:a16="http://schemas.microsoft.com/office/drawing/2014/main" id="{844C9595-A6AB-4FBB-92DC-359A3451118A}"/>
                  </a:ext>
                </a:extLst>
              </p:cNvPr>
              <p:cNvGrpSpPr/>
              <p:nvPr/>
            </p:nvGrpSpPr>
            <p:grpSpPr>
              <a:xfrm>
                <a:off x="3120579" y="3747361"/>
                <a:ext cx="5175504" cy="477079"/>
                <a:chOff x="3120579" y="4258788"/>
                <a:chExt cx="5175504" cy="477079"/>
              </a:xfrm>
            </p:grpSpPr>
            <p:sp>
              <p:nvSpPr>
                <p:cNvPr id="11" name="Rectangle 10">
                  <a:extLst>
                    <a:ext uri="{FF2B5EF4-FFF2-40B4-BE49-F238E27FC236}">
                      <a16:creationId xmlns:a16="http://schemas.microsoft.com/office/drawing/2014/main" id="{D3C95CCB-0D93-429D-8A24-95A6D3641325}"/>
                    </a:ext>
                  </a:extLst>
                </p:cNvPr>
                <p:cNvSpPr/>
                <p:nvPr/>
              </p:nvSpPr>
              <p:spPr>
                <a:xfrm>
                  <a:off x="3120579" y="4258788"/>
                  <a:ext cx="2587752" cy="477079"/>
                </a:xfrm>
                <a:prstGeom prst="rect">
                  <a:avLst/>
                </a:prstGeom>
                <a:pattFill prst="wdDnDiag">
                  <a:fgClr>
                    <a:srgbClr val="D8C0C0"/>
                  </a:fgClr>
                  <a:bgClr>
                    <a:schemeClr val="bg1"/>
                  </a:bgClr>
                </a:pattFill>
                <a:ln w="28575">
                  <a:solidFill>
                    <a:srgbClr val="D8C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12" name="Rectangle 11">
                  <a:extLst>
                    <a:ext uri="{FF2B5EF4-FFF2-40B4-BE49-F238E27FC236}">
                      <a16:creationId xmlns:a16="http://schemas.microsoft.com/office/drawing/2014/main" id="{D9E32F32-66B6-4BD7-A62B-0498F06B1094}"/>
                    </a:ext>
                  </a:extLst>
                </p:cNvPr>
                <p:cNvSpPr/>
                <p:nvPr/>
              </p:nvSpPr>
              <p:spPr>
                <a:xfrm>
                  <a:off x="5708331" y="4258788"/>
                  <a:ext cx="2587752" cy="477079"/>
                </a:xfrm>
                <a:prstGeom prst="rect">
                  <a:avLst/>
                </a:prstGeom>
                <a:pattFill prst="wdDnDiag">
                  <a:fgClr>
                    <a:srgbClr val="F9DDC8"/>
                  </a:fgClr>
                  <a:bgClr>
                    <a:schemeClr val="bg1"/>
                  </a:bgClr>
                </a:pattFill>
                <a:ln w="28575">
                  <a:solidFill>
                    <a:srgbClr val="F9DDC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grpSp>
            <p:nvGrpSpPr>
              <p:cNvPr id="7" name="Group 6">
                <a:extLst>
                  <a:ext uri="{FF2B5EF4-FFF2-40B4-BE49-F238E27FC236}">
                    <a16:creationId xmlns:a16="http://schemas.microsoft.com/office/drawing/2014/main" id="{F42DB70C-808C-47E5-BE5A-17E3A57137B6}"/>
                  </a:ext>
                </a:extLst>
              </p:cNvPr>
              <p:cNvGrpSpPr/>
              <p:nvPr/>
            </p:nvGrpSpPr>
            <p:grpSpPr>
              <a:xfrm>
                <a:off x="3637721" y="3747361"/>
                <a:ext cx="4141220" cy="477080"/>
                <a:chOff x="4933122" y="1712842"/>
                <a:chExt cx="1828800" cy="477080"/>
              </a:xfrm>
            </p:grpSpPr>
            <p:sp>
              <p:nvSpPr>
                <p:cNvPr id="9" name="Rectangle 8">
                  <a:extLst>
                    <a:ext uri="{FF2B5EF4-FFF2-40B4-BE49-F238E27FC236}">
                      <a16:creationId xmlns:a16="http://schemas.microsoft.com/office/drawing/2014/main" id="{784318CF-6332-46D7-8F8F-A0A45201F98A}"/>
                    </a:ext>
                  </a:extLst>
                </p:cNvPr>
                <p:cNvSpPr/>
                <p:nvPr/>
              </p:nvSpPr>
              <p:spPr>
                <a:xfrm>
                  <a:off x="4933122" y="1712842"/>
                  <a:ext cx="914400" cy="477079"/>
                </a:xfrm>
                <a:prstGeom prst="rect">
                  <a:avLst/>
                </a:prstGeom>
                <a:solidFill>
                  <a:srgbClr val="D8C0C0"/>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C-Band</a:t>
                  </a:r>
                </a:p>
              </p:txBody>
            </p:sp>
            <p:sp>
              <p:nvSpPr>
                <p:cNvPr id="10" name="Rectangle 9">
                  <a:extLst>
                    <a:ext uri="{FF2B5EF4-FFF2-40B4-BE49-F238E27FC236}">
                      <a16:creationId xmlns:a16="http://schemas.microsoft.com/office/drawing/2014/main" id="{5E5D4D7F-283B-45E0-970E-1C1BB2C746D9}"/>
                    </a:ext>
                  </a:extLst>
                </p:cNvPr>
                <p:cNvSpPr/>
                <p:nvPr/>
              </p:nvSpPr>
              <p:spPr>
                <a:xfrm>
                  <a:off x="5847522" y="1712843"/>
                  <a:ext cx="914400" cy="477079"/>
                </a:xfrm>
                <a:prstGeom prst="rect">
                  <a:avLst/>
                </a:prstGeom>
                <a:solidFill>
                  <a:srgbClr val="F9DDC8"/>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L-Band</a:t>
                  </a:r>
                </a:p>
              </p:txBody>
            </p:sp>
          </p:grpSp>
          <p:sp>
            <p:nvSpPr>
              <p:cNvPr id="8" name="TextBox 7">
                <a:extLst>
                  <a:ext uri="{FF2B5EF4-FFF2-40B4-BE49-F238E27FC236}">
                    <a16:creationId xmlns:a16="http://schemas.microsoft.com/office/drawing/2014/main" id="{707135C0-CAF1-464A-BB09-6D42682A2B7D}"/>
                  </a:ext>
                </a:extLst>
              </p:cNvPr>
              <p:cNvSpPr txBox="1"/>
              <p:nvPr/>
            </p:nvSpPr>
            <p:spPr>
              <a:xfrm>
                <a:off x="3974423" y="3816623"/>
                <a:ext cx="120745" cy="221287"/>
              </a:xfrm>
              <a:prstGeom prst="rect">
                <a:avLst/>
              </a:prstGeom>
            </p:spPr>
            <p:txBody>
              <a:bodyPr vert="horz" wrap="none" lIns="91440" tIns="45720" rIns="91440" bIns="45720" rtlCol="0">
                <a:spAutoFit/>
              </a:bodyPr>
              <a:lstStyle/>
              <a:p>
                <a:pPr algn="l">
                  <a:spcBef>
                    <a:spcPct val="20000"/>
                  </a:spcBef>
                  <a:buClr>
                    <a:srgbClr val="6D6E71"/>
                  </a:buClr>
                </a:pPr>
                <a:endParaRPr lang="en-US" sz="1600" dirty="0">
                  <a:solidFill>
                    <a:schemeClr val="tx2"/>
                  </a:solidFill>
                </a:endParaRPr>
              </a:p>
            </p:txBody>
          </p:sp>
        </p:grpSp>
        <p:sp>
          <p:nvSpPr>
            <p:cNvPr id="13" name="TextBox 12">
              <a:extLst>
                <a:ext uri="{FF2B5EF4-FFF2-40B4-BE49-F238E27FC236}">
                  <a16:creationId xmlns:a16="http://schemas.microsoft.com/office/drawing/2014/main" id="{8600C56B-E336-4322-B0BF-F90D90559CD6}"/>
                </a:ext>
              </a:extLst>
            </p:cNvPr>
            <p:cNvSpPr txBox="1"/>
            <p:nvPr/>
          </p:nvSpPr>
          <p:spPr>
            <a:xfrm>
              <a:off x="3714682" y="1174481"/>
              <a:ext cx="1285673"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100 Tb/s</a:t>
              </a:r>
            </a:p>
          </p:txBody>
        </p:sp>
        <p:cxnSp>
          <p:nvCxnSpPr>
            <p:cNvPr id="14" name="Straight Connector 13">
              <a:extLst>
                <a:ext uri="{FF2B5EF4-FFF2-40B4-BE49-F238E27FC236}">
                  <a16:creationId xmlns:a16="http://schemas.microsoft.com/office/drawing/2014/main" id="{C1E332AE-8204-4998-A12E-F53E8D8F2651}"/>
                </a:ext>
              </a:extLst>
            </p:cNvPr>
            <p:cNvCxnSpPr>
              <a:cxnSpLocks/>
            </p:cNvCxnSpPr>
            <p:nvPr/>
          </p:nvCxnSpPr>
          <p:spPr>
            <a:xfrm>
              <a:off x="453816" y="1647998"/>
              <a:ext cx="7908219"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2BFF1001-A0CC-4868-A646-F1D07E069A08}"/>
                </a:ext>
              </a:extLst>
            </p:cNvPr>
            <p:cNvSpPr txBox="1"/>
            <p:nvPr/>
          </p:nvSpPr>
          <p:spPr>
            <a:xfrm>
              <a:off x="9342909" y="1743511"/>
              <a:ext cx="2109873" cy="707886"/>
            </a:xfrm>
            <a:prstGeom prst="rect">
              <a:avLst/>
            </a:prstGeom>
          </p:spPr>
          <p:txBody>
            <a:bodyPr vert="horz" wrap="none" lIns="91440" tIns="45720" rIns="91440" bIns="45720" rtlCol="0">
              <a:spAutoFit/>
            </a:bodyPr>
            <a:lstStyle/>
            <a:p>
              <a:pPr algn="l">
                <a:spcBef>
                  <a:spcPct val="20000"/>
                </a:spcBef>
                <a:buClr>
                  <a:srgbClr val="6D6E71"/>
                </a:buClr>
              </a:pPr>
              <a:r>
                <a:rPr lang="en-US" sz="4000" dirty="0">
                  <a:solidFill>
                    <a:schemeClr val="tx2"/>
                  </a:solidFill>
                </a:rPr>
                <a:t>1,000 km</a:t>
              </a:r>
            </a:p>
          </p:txBody>
        </p:sp>
      </p:grpSp>
      <p:grpSp>
        <p:nvGrpSpPr>
          <p:cNvPr id="40" name="Group 39">
            <a:extLst>
              <a:ext uri="{FF2B5EF4-FFF2-40B4-BE49-F238E27FC236}">
                <a16:creationId xmlns:a16="http://schemas.microsoft.com/office/drawing/2014/main" id="{ADE3C77D-B1E0-49C8-83B9-53FB4CAA4F98}"/>
              </a:ext>
            </a:extLst>
          </p:cNvPr>
          <p:cNvGrpSpPr/>
          <p:nvPr/>
        </p:nvGrpSpPr>
        <p:grpSpPr>
          <a:xfrm>
            <a:off x="453816" y="2763290"/>
            <a:ext cx="10998965" cy="1377629"/>
            <a:chOff x="453816" y="2763290"/>
            <a:chExt cx="10998965" cy="1377629"/>
          </a:xfrm>
        </p:grpSpPr>
        <p:grpSp>
          <p:nvGrpSpPr>
            <p:cNvPr id="17" name="Group 16">
              <a:extLst>
                <a:ext uri="{FF2B5EF4-FFF2-40B4-BE49-F238E27FC236}">
                  <a16:creationId xmlns:a16="http://schemas.microsoft.com/office/drawing/2014/main" id="{E4047033-9EAB-498D-A346-5447CF656895}"/>
                </a:ext>
              </a:extLst>
            </p:cNvPr>
            <p:cNvGrpSpPr/>
            <p:nvPr/>
          </p:nvGrpSpPr>
          <p:grpSpPr>
            <a:xfrm>
              <a:off x="453816" y="3411020"/>
              <a:ext cx="7918158" cy="729899"/>
              <a:chOff x="3120579" y="3747361"/>
              <a:chExt cx="5175504" cy="477080"/>
            </a:xfrm>
          </p:grpSpPr>
          <p:grpSp>
            <p:nvGrpSpPr>
              <p:cNvPr id="18" name="Group 17">
                <a:extLst>
                  <a:ext uri="{FF2B5EF4-FFF2-40B4-BE49-F238E27FC236}">
                    <a16:creationId xmlns:a16="http://schemas.microsoft.com/office/drawing/2014/main" id="{C2412659-7D39-49B0-84EE-B2F552FD505F}"/>
                  </a:ext>
                </a:extLst>
              </p:cNvPr>
              <p:cNvGrpSpPr/>
              <p:nvPr/>
            </p:nvGrpSpPr>
            <p:grpSpPr>
              <a:xfrm>
                <a:off x="3120579" y="3747361"/>
                <a:ext cx="5175504" cy="477079"/>
                <a:chOff x="3120579" y="4258788"/>
                <a:chExt cx="5175504" cy="477079"/>
              </a:xfrm>
            </p:grpSpPr>
            <p:sp>
              <p:nvSpPr>
                <p:cNvPr id="23" name="Rectangle 22">
                  <a:extLst>
                    <a:ext uri="{FF2B5EF4-FFF2-40B4-BE49-F238E27FC236}">
                      <a16:creationId xmlns:a16="http://schemas.microsoft.com/office/drawing/2014/main" id="{3BEC2AB8-EBC3-4AAF-8174-919727767D7F}"/>
                    </a:ext>
                  </a:extLst>
                </p:cNvPr>
                <p:cNvSpPr/>
                <p:nvPr/>
              </p:nvSpPr>
              <p:spPr>
                <a:xfrm>
                  <a:off x="3120579" y="4258788"/>
                  <a:ext cx="2587752" cy="477079"/>
                </a:xfrm>
                <a:prstGeom prst="rect">
                  <a:avLst/>
                </a:prstGeom>
                <a:pattFill prst="wdDnDiag">
                  <a:fgClr>
                    <a:srgbClr val="D8C0C0"/>
                  </a:fgClr>
                  <a:bgClr>
                    <a:schemeClr val="bg1"/>
                  </a:bgClr>
                </a:pattFill>
                <a:ln w="28575">
                  <a:solidFill>
                    <a:srgbClr val="D8C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24" name="Rectangle 23">
                  <a:extLst>
                    <a:ext uri="{FF2B5EF4-FFF2-40B4-BE49-F238E27FC236}">
                      <a16:creationId xmlns:a16="http://schemas.microsoft.com/office/drawing/2014/main" id="{73ECF6CC-2178-450C-99E8-087DCB8AEBDB}"/>
                    </a:ext>
                  </a:extLst>
                </p:cNvPr>
                <p:cNvSpPr/>
                <p:nvPr/>
              </p:nvSpPr>
              <p:spPr>
                <a:xfrm>
                  <a:off x="5708331" y="4258788"/>
                  <a:ext cx="2587752" cy="477079"/>
                </a:xfrm>
                <a:prstGeom prst="rect">
                  <a:avLst/>
                </a:prstGeom>
                <a:pattFill prst="wdDnDiag">
                  <a:fgClr>
                    <a:srgbClr val="F9DDC8"/>
                  </a:fgClr>
                  <a:bgClr>
                    <a:schemeClr val="bg1"/>
                  </a:bgClr>
                </a:pattFill>
                <a:ln w="28575">
                  <a:solidFill>
                    <a:srgbClr val="F9DDC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grpSp>
            <p:nvGrpSpPr>
              <p:cNvPr id="19" name="Group 18">
                <a:extLst>
                  <a:ext uri="{FF2B5EF4-FFF2-40B4-BE49-F238E27FC236}">
                    <a16:creationId xmlns:a16="http://schemas.microsoft.com/office/drawing/2014/main" id="{403109DC-F021-4196-9EB0-6AB5636DE402}"/>
                  </a:ext>
                </a:extLst>
              </p:cNvPr>
              <p:cNvGrpSpPr/>
              <p:nvPr/>
            </p:nvGrpSpPr>
            <p:grpSpPr>
              <a:xfrm>
                <a:off x="3637721" y="3747361"/>
                <a:ext cx="4141220" cy="477080"/>
                <a:chOff x="4933122" y="1712842"/>
                <a:chExt cx="1828800" cy="477080"/>
              </a:xfrm>
            </p:grpSpPr>
            <p:sp>
              <p:nvSpPr>
                <p:cNvPr id="21" name="Rectangle 20">
                  <a:extLst>
                    <a:ext uri="{FF2B5EF4-FFF2-40B4-BE49-F238E27FC236}">
                      <a16:creationId xmlns:a16="http://schemas.microsoft.com/office/drawing/2014/main" id="{BE559517-E65A-4045-A79F-E6CD628544FD}"/>
                    </a:ext>
                  </a:extLst>
                </p:cNvPr>
                <p:cNvSpPr/>
                <p:nvPr/>
              </p:nvSpPr>
              <p:spPr>
                <a:xfrm>
                  <a:off x="4933122" y="1712842"/>
                  <a:ext cx="914400" cy="477079"/>
                </a:xfrm>
                <a:prstGeom prst="rect">
                  <a:avLst/>
                </a:prstGeom>
                <a:solidFill>
                  <a:srgbClr val="D8C0C0"/>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C-Band</a:t>
                  </a:r>
                </a:p>
              </p:txBody>
            </p:sp>
            <p:sp>
              <p:nvSpPr>
                <p:cNvPr id="22" name="Rectangle 21">
                  <a:extLst>
                    <a:ext uri="{FF2B5EF4-FFF2-40B4-BE49-F238E27FC236}">
                      <a16:creationId xmlns:a16="http://schemas.microsoft.com/office/drawing/2014/main" id="{48A5E0B7-2F83-4A3B-ABCE-A18A313EE6A1}"/>
                    </a:ext>
                  </a:extLst>
                </p:cNvPr>
                <p:cNvSpPr/>
                <p:nvPr/>
              </p:nvSpPr>
              <p:spPr>
                <a:xfrm>
                  <a:off x="5847522" y="1712843"/>
                  <a:ext cx="914400" cy="477079"/>
                </a:xfrm>
                <a:prstGeom prst="rect">
                  <a:avLst/>
                </a:prstGeom>
                <a:solidFill>
                  <a:srgbClr val="F9DDC8"/>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L-Band</a:t>
                  </a:r>
                </a:p>
              </p:txBody>
            </p:sp>
          </p:grpSp>
          <p:sp>
            <p:nvSpPr>
              <p:cNvPr id="20" name="TextBox 19">
                <a:extLst>
                  <a:ext uri="{FF2B5EF4-FFF2-40B4-BE49-F238E27FC236}">
                    <a16:creationId xmlns:a16="http://schemas.microsoft.com/office/drawing/2014/main" id="{D8C98A63-0B7E-4B1F-88C1-C769C94E8A63}"/>
                  </a:ext>
                </a:extLst>
              </p:cNvPr>
              <p:cNvSpPr txBox="1"/>
              <p:nvPr/>
            </p:nvSpPr>
            <p:spPr>
              <a:xfrm>
                <a:off x="3974423" y="3816623"/>
                <a:ext cx="120745" cy="221287"/>
              </a:xfrm>
              <a:prstGeom prst="rect">
                <a:avLst/>
              </a:prstGeom>
            </p:spPr>
            <p:txBody>
              <a:bodyPr vert="horz" wrap="none" lIns="91440" tIns="45720" rIns="91440" bIns="45720" rtlCol="0">
                <a:spAutoFit/>
              </a:bodyPr>
              <a:lstStyle/>
              <a:p>
                <a:pPr algn="l">
                  <a:spcBef>
                    <a:spcPct val="20000"/>
                  </a:spcBef>
                  <a:buClr>
                    <a:srgbClr val="6D6E71"/>
                  </a:buClr>
                </a:pPr>
                <a:endParaRPr lang="en-US" sz="1600" dirty="0">
                  <a:solidFill>
                    <a:schemeClr val="tx2"/>
                  </a:solidFill>
                </a:endParaRPr>
              </a:p>
            </p:txBody>
          </p:sp>
        </p:grpSp>
        <p:sp>
          <p:nvSpPr>
            <p:cNvPr id="25" name="TextBox 24">
              <a:extLst>
                <a:ext uri="{FF2B5EF4-FFF2-40B4-BE49-F238E27FC236}">
                  <a16:creationId xmlns:a16="http://schemas.microsoft.com/office/drawing/2014/main" id="{424D8ABC-8C90-43C3-8E25-4AA183DA4EF9}"/>
                </a:ext>
              </a:extLst>
            </p:cNvPr>
            <p:cNvSpPr txBox="1"/>
            <p:nvPr/>
          </p:nvSpPr>
          <p:spPr>
            <a:xfrm>
              <a:off x="3817087" y="2763290"/>
              <a:ext cx="1130181"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75 Tb/s</a:t>
              </a:r>
            </a:p>
          </p:txBody>
        </p:sp>
        <p:cxnSp>
          <p:nvCxnSpPr>
            <p:cNvPr id="26" name="Straight Connector 25">
              <a:extLst>
                <a:ext uri="{FF2B5EF4-FFF2-40B4-BE49-F238E27FC236}">
                  <a16:creationId xmlns:a16="http://schemas.microsoft.com/office/drawing/2014/main" id="{0AB2BD23-C71A-4884-A4F0-09585D165FAB}"/>
                </a:ext>
              </a:extLst>
            </p:cNvPr>
            <p:cNvCxnSpPr>
              <a:cxnSpLocks/>
            </p:cNvCxnSpPr>
            <p:nvPr/>
          </p:nvCxnSpPr>
          <p:spPr>
            <a:xfrm>
              <a:off x="463755" y="3236807"/>
              <a:ext cx="7908219"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B3ED4B0C-C9FF-44C5-A9A2-BB289A7F0D1F}"/>
                </a:ext>
              </a:extLst>
            </p:cNvPr>
            <p:cNvSpPr txBox="1"/>
            <p:nvPr/>
          </p:nvSpPr>
          <p:spPr>
            <a:xfrm>
              <a:off x="9342908" y="3332320"/>
              <a:ext cx="2109873" cy="707886"/>
            </a:xfrm>
            <a:prstGeom prst="rect">
              <a:avLst/>
            </a:prstGeom>
          </p:spPr>
          <p:txBody>
            <a:bodyPr vert="horz" wrap="none" lIns="91440" tIns="45720" rIns="91440" bIns="45720" rtlCol="0">
              <a:spAutoFit/>
            </a:bodyPr>
            <a:lstStyle/>
            <a:p>
              <a:pPr algn="l">
                <a:spcBef>
                  <a:spcPct val="20000"/>
                </a:spcBef>
                <a:buClr>
                  <a:srgbClr val="6D6E71"/>
                </a:buClr>
              </a:pPr>
              <a:r>
                <a:rPr lang="en-US" sz="4000" dirty="0">
                  <a:solidFill>
                    <a:schemeClr val="tx2"/>
                  </a:solidFill>
                </a:rPr>
                <a:t>3,000 km</a:t>
              </a:r>
            </a:p>
          </p:txBody>
        </p:sp>
      </p:grpSp>
      <p:grpSp>
        <p:nvGrpSpPr>
          <p:cNvPr id="41" name="Group 40">
            <a:extLst>
              <a:ext uri="{FF2B5EF4-FFF2-40B4-BE49-F238E27FC236}">
                <a16:creationId xmlns:a16="http://schemas.microsoft.com/office/drawing/2014/main" id="{6FBEB08C-92EF-4F35-B046-FC763257D3D8}"/>
              </a:ext>
            </a:extLst>
          </p:cNvPr>
          <p:cNvGrpSpPr/>
          <p:nvPr/>
        </p:nvGrpSpPr>
        <p:grpSpPr>
          <a:xfrm>
            <a:off x="463755" y="4352099"/>
            <a:ext cx="10989025" cy="1377629"/>
            <a:chOff x="463755" y="4352099"/>
            <a:chExt cx="10989025" cy="1377629"/>
          </a:xfrm>
        </p:grpSpPr>
        <p:grpSp>
          <p:nvGrpSpPr>
            <p:cNvPr id="27" name="Group 26">
              <a:extLst>
                <a:ext uri="{FF2B5EF4-FFF2-40B4-BE49-F238E27FC236}">
                  <a16:creationId xmlns:a16="http://schemas.microsoft.com/office/drawing/2014/main" id="{0E27E02D-CC53-47E9-9866-DB269FFB1F25}"/>
                </a:ext>
              </a:extLst>
            </p:cNvPr>
            <p:cNvGrpSpPr/>
            <p:nvPr/>
          </p:nvGrpSpPr>
          <p:grpSpPr>
            <a:xfrm>
              <a:off x="463755" y="4999829"/>
              <a:ext cx="7918158" cy="729899"/>
              <a:chOff x="3120579" y="3747361"/>
              <a:chExt cx="5175504" cy="477080"/>
            </a:xfrm>
          </p:grpSpPr>
          <p:grpSp>
            <p:nvGrpSpPr>
              <p:cNvPr id="28" name="Group 27">
                <a:extLst>
                  <a:ext uri="{FF2B5EF4-FFF2-40B4-BE49-F238E27FC236}">
                    <a16:creationId xmlns:a16="http://schemas.microsoft.com/office/drawing/2014/main" id="{EE08B371-262D-4183-9925-FC7FDE078BBB}"/>
                  </a:ext>
                </a:extLst>
              </p:cNvPr>
              <p:cNvGrpSpPr/>
              <p:nvPr/>
            </p:nvGrpSpPr>
            <p:grpSpPr>
              <a:xfrm>
                <a:off x="3120579" y="3747361"/>
                <a:ext cx="5175504" cy="477079"/>
                <a:chOff x="3120579" y="4258788"/>
                <a:chExt cx="5175504" cy="477079"/>
              </a:xfrm>
            </p:grpSpPr>
            <p:sp>
              <p:nvSpPr>
                <p:cNvPr id="33" name="Rectangle 32">
                  <a:extLst>
                    <a:ext uri="{FF2B5EF4-FFF2-40B4-BE49-F238E27FC236}">
                      <a16:creationId xmlns:a16="http://schemas.microsoft.com/office/drawing/2014/main" id="{9C65F00F-BEB1-4A92-A7EB-79EDDA3D54A4}"/>
                    </a:ext>
                  </a:extLst>
                </p:cNvPr>
                <p:cNvSpPr/>
                <p:nvPr/>
              </p:nvSpPr>
              <p:spPr>
                <a:xfrm>
                  <a:off x="3120579" y="4258788"/>
                  <a:ext cx="2587752" cy="477079"/>
                </a:xfrm>
                <a:prstGeom prst="rect">
                  <a:avLst/>
                </a:prstGeom>
                <a:pattFill prst="wdDnDiag">
                  <a:fgClr>
                    <a:srgbClr val="D8C0C0"/>
                  </a:fgClr>
                  <a:bgClr>
                    <a:schemeClr val="bg1"/>
                  </a:bgClr>
                </a:pattFill>
                <a:ln w="28575">
                  <a:solidFill>
                    <a:srgbClr val="D8C0C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sp>
              <p:nvSpPr>
                <p:cNvPr id="34" name="Rectangle 33">
                  <a:extLst>
                    <a:ext uri="{FF2B5EF4-FFF2-40B4-BE49-F238E27FC236}">
                      <a16:creationId xmlns:a16="http://schemas.microsoft.com/office/drawing/2014/main" id="{269938B3-2017-47C3-9251-AFFF638DF2D2}"/>
                    </a:ext>
                  </a:extLst>
                </p:cNvPr>
                <p:cNvSpPr/>
                <p:nvPr/>
              </p:nvSpPr>
              <p:spPr>
                <a:xfrm>
                  <a:off x="5708331" y="4258788"/>
                  <a:ext cx="2587752" cy="477079"/>
                </a:xfrm>
                <a:prstGeom prst="rect">
                  <a:avLst/>
                </a:prstGeom>
                <a:pattFill prst="wdDnDiag">
                  <a:fgClr>
                    <a:srgbClr val="F9DDC8"/>
                  </a:fgClr>
                  <a:bgClr>
                    <a:schemeClr val="bg1"/>
                  </a:bgClr>
                </a:pattFill>
                <a:ln w="28575">
                  <a:solidFill>
                    <a:srgbClr val="F9DDC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chemeClr val="tx2"/>
                    </a:solidFill>
                  </a:endParaRPr>
                </a:p>
              </p:txBody>
            </p:sp>
          </p:grpSp>
          <p:grpSp>
            <p:nvGrpSpPr>
              <p:cNvPr id="29" name="Group 28">
                <a:extLst>
                  <a:ext uri="{FF2B5EF4-FFF2-40B4-BE49-F238E27FC236}">
                    <a16:creationId xmlns:a16="http://schemas.microsoft.com/office/drawing/2014/main" id="{9A614F6A-E544-43D9-99EB-5776CC8CD8A3}"/>
                  </a:ext>
                </a:extLst>
              </p:cNvPr>
              <p:cNvGrpSpPr/>
              <p:nvPr/>
            </p:nvGrpSpPr>
            <p:grpSpPr>
              <a:xfrm>
                <a:off x="3637721" y="3747361"/>
                <a:ext cx="4141220" cy="477080"/>
                <a:chOff x="4933122" y="1712842"/>
                <a:chExt cx="1828800" cy="477080"/>
              </a:xfrm>
            </p:grpSpPr>
            <p:sp>
              <p:nvSpPr>
                <p:cNvPr id="31" name="Rectangle 30">
                  <a:extLst>
                    <a:ext uri="{FF2B5EF4-FFF2-40B4-BE49-F238E27FC236}">
                      <a16:creationId xmlns:a16="http://schemas.microsoft.com/office/drawing/2014/main" id="{707F617D-7AFA-45B9-A420-DF0989B4B9CA}"/>
                    </a:ext>
                  </a:extLst>
                </p:cNvPr>
                <p:cNvSpPr/>
                <p:nvPr/>
              </p:nvSpPr>
              <p:spPr>
                <a:xfrm>
                  <a:off x="4933122" y="1712842"/>
                  <a:ext cx="914400" cy="477079"/>
                </a:xfrm>
                <a:prstGeom prst="rect">
                  <a:avLst/>
                </a:prstGeom>
                <a:solidFill>
                  <a:srgbClr val="D8C0C0"/>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C-Band</a:t>
                  </a:r>
                </a:p>
              </p:txBody>
            </p:sp>
            <p:sp>
              <p:nvSpPr>
                <p:cNvPr id="32" name="Rectangle 31">
                  <a:extLst>
                    <a:ext uri="{FF2B5EF4-FFF2-40B4-BE49-F238E27FC236}">
                      <a16:creationId xmlns:a16="http://schemas.microsoft.com/office/drawing/2014/main" id="{D4D2E05F-5F9A-4E2E-A47D-7716AFFEF5E9}"/>
                    </a:ext>
                  </a:extLst>
                </p:cNvPr>
                <p:cNvSpPr/>
                <p:nvPr/>
              </p:nvSpPr>
              <p:spPr>
                <a:xfrm>
                  <a:off x="5847522" y="1712843"/>
                  <a:ext cx="914400" cy="477079"/>
                </a:xfrm>
                <a:prstGeom prst="rect">
                  <a:avLst/>
                </a:prstGeom>
                <a:solidFill>
                  <a:srgbClr val="F9DDC8"/>
                </a:solidFill>
                <a:ln w="1270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800" dirty="0">
                      <a:solidFill>
                        <a:schemeClr val="tx2"/>
                      </a:solidFill>
                    </a:rPr>
                    <a:t>Super L-Band</a:t>
                  </a:r>
                </a:p>
              </p:txBody>
            </p:sp>
          </p:grpSp>
          <p:sp>
            <p:nvSpPr>
              <p:cNvPr id="30" name="TextBox 29">
                <a:extLst>
                  <a:ext uri="{FF2B5EF4-FFF2-40B4-BE49-F238E27FC236}">
                    <a16:creationId xmlns:a16="http://schemas.microsoft.com/office/drawing/2014/main" id="{B04ECC7B-06C2-42A5-8AAC-D2D49FC0C68A}"/>
                  </a:ext>
                </a:extLst>
              </p:cNvPr>
              <p:cNvSpPr txBox="1"/>
              <p:nvPr/>
            </p:nvSpPr>
            <p:spPr>
              <a:xfrm>
                <a:off x="3974423" y="3816623"/>
                <a:ext cx="120745" cy="221287"/>
              </a:xfrm>
              <a:prstGeom prst="rect">
                <a:avLst/>
              </a:prstGeom>
            </p:spPr>
            <p:txBody>
              <a:bodyPr vert="horz" wrap="none" lIns="91440" tIns="45720" rIns="91440" bIns="45720" rtlCol="0">
                <a:spAutoFit/>
              </a:bodyPr>
              <a:lstStyle/>
              <a:p>
                <a:pPr algn="l">
                  <a:spcBef>
                    <a:spcPct val="20000"/>
                  </a:spcBef>
                  <a:buClr>
                    <a:srgbClr val="6D6E71"/>
                  </a:buClr>
                </a:pPr>
                <a:endParaRPr lang="en-US" sz="1600" dirty="0">
                  <a:solidFill>
                    <a:schemeClr val="tx2"/>
                  </a:solidFill>
                </a:endParaRPr>
              </a:p>
            </p:txBody>
          </p:sp>
        </p:grpSp>
        <p:sp>
          <p:nvSpPr>
            <p:cNvPr id="35" name="TextBox 34">
              <a:extLst>
                <a:ext uri="{FF2B5EF4-FFF2-40B4-BE49-F238E27FC236}">
                  <a16:creationId xmlns:a16="http://schemas.microsoft.com/office/drawing/2014/main" id="{3B248C9A-BD1F-46E0-B635-AF381040B5EF}"/>
                </a:ext>
              </a:extLst>
            </p:cNvPr>
            <p:cNvSpPr txBox="1"/>
            <p:nvPr/>
          </p:nvSpPr>
          <p:spPr>
            <a:xfrm>
              <a:off x="3843889" y="4352099"/>
              <a:ext cx="1130181" cy="461665"/>
            </a:xfrm>
            <a:prstGeom prst="rect">
              <a:avLst/>
            </a:prstGeom>
          </p:spPr>
          <p:txBody>
            <a:bodyPr vert="horz" wrap="none" lIns="91440" tIns="45720" rIns="91440" bIns="45720" rtlCol="0">
              <a:spAutoFit/>
            </a:bodyPr>
            <a:lstStyle/>
            <a:p>
              <a:pPr algn="l">
                <a:spcBef>
                  <a:spcPct val="20000"/>
                </a:spcBef>
                <a:buClr>
                  <a:srgbClr val="6D6E71"/>
                </a:buClr>
              </a:pPr>
              <a:r>
                <a:rPr lang="en-US" sz="2400" b="1" dirty="0">
                  <a:solidFill>
                    <a:schemeClr val="tx2"/>
                  </a:solidFill>
                </a:rPr>
                <a:t>50 Tb/s</a:t>
              </a:r>
            </a:p>
          </p:txBody>
        </p:sp>
        <p:cxnSp>
          <p:nvCxnSpPr>
            <p:cNvPr id="36" name="Straight Connector 35">
              <a:extLst>
                <a:ext uri="{FF2B5EF4-FFF2-40B4-BE49-F238E27FC236}">
                  <a16:creationId xmlns:a16="http://schemas.microsoft.com/office/drawing/2014/main" id="{6F35A2E7-37BF-4F4B-A420-7DB166B7556D}"/>
                </a:ext>
              </a:extLst>
            </p:cNvPr>
            <p:cNvCxnSpPr>
              <a:cxnSpLocks/>
            </p:cNvCxnSpPr>
            <p:nvPr/>
          </p:nvCxnSpPr>
          <p:spPr>
            <a:xfrm>
              <a:off x="473694" y="4825616"/>
              <a:ext cx="7908219" cy="0"/>
            </a:xfrm>
            <a:prstGeom prst="line">
              <a:avLst/>
            </a:prstGeom>
            <a:ln>
              <a:solidFill>
                <a:schemeClr val="tx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828C11AE-06D3-4182-9F4C-FF43BFFA7213}"/>
                </a:ext>
              </a:extLst>
            </p:cNvPr>
            <p:cNvSpPr txBox="1"/>
            <p:nvPr/>
          </p:nvSpPr>
          <p:spPr>
            <a:xfrm>
              <a:off x="9342907" y="4921129"/>
              <a:ext cx="2109873" cy="707886"/>
            </a:xfrm>
            <a:prstGeom prst="rect">
              <a:avLst/>
            </a:prstGeom>
          </p:spPr>
          <p:txBody>
            <a:bodyPr vert="horz" wrap="none" lIns="91440" tIns="45720" rIns="91440" bIns="45720" rtlCol="0">
              <a:spAutoFit/>
            </a:bodyPr>
            <a:lstStyle/>
            <a:p>
              <a:pPr algn="l">
                <a:spcBef>
                  <a:spcPct val="20000"/>
                </a:spcBef>
                <a:buClr>
                  <a:srgbClr val="6D6E71"/>
                </a:buClr>
              </a:pPr>
              <a:r>
                <a:rPr lang="en-US" sz="4000" dirty="0">
                  <a:solidFill>
                    <a:schemeClr val="tx2"/>
                  </a:solidFill>
                </a:rPr>
                <a:t>7,500 km</a:t>
              </a:r>
            </a:p>
          </p:txBody>
        </p:sp>
      </p:grpSp>
    </p:spTree>
    <p:extLst>
      <p:ext uri="{BB962C8B-B14F-4D97-AF65-F5344CB8AC3E}">
        <p14:creationId xmlns:p14="http://schemas.microsoft.com/office/powerpoint/2010/main" val="425840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left)">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True"/>
  <p:tag name="MIO_SHOW_PAGENUMBER" val="True"/>
  <p:tag name="MIO_AVOID_BLANK_LAYOUT" val="True"/>
  <p:tag name="MIO_CD_LAYOUT_VALID_AREA" val="False"/>
  <p:tag name="MIO_NUMBER_OF_VALID_LAYOUTS" val="15"/>
  <p:tag name="MIO_HDS" val="True"/>
  <p:tag name="MIO_SKIPVERSION" val="01.01.0001 00:00:00"/>
  <p:tag name="MIO_EKGUID" val="c74d7dd0-9663-4d61-90d6-65df55e085c6"/>
  <p:tag name="MIO_UPDATE" val="True"/>
  <p:tag name="MIO_VERSION" val="25.01.2018 20:01:11"/>
  <p:tag name="MIO_DBID" val="CE3BB8C3-1254-4E6D-97C6-023323F32E7C"/>
  <p:tag name="MIO_LASTDOWNLOADED" val="25.01.2018 12:01:10"/>
  <p:tag name="MIO_OBJECTNAME" val="Coriant Master2"/>
  <p:tag name="MIO_LASTEDITORNAME" val="Johanna "/>
  <p:tag name="MIO_PRESI_FIRST_SLIDENUMBER" val="1"/>
</p:tagLst>
</file>

<file path=ppt/tags/tag2.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True"/>
  <p:tag name="MIO_SHOW_PAGENUMBER" val="True"/>
  <p:tag name="MIO_AVOID_BLANK_LAYOUT" val="True"/>
  <p:tag name="MIO_CD_LAYOUT_VALID_AREA" val="False"/>
  <p:tag name="MIO_NUMBER_OF_VALID_LAYOUTS" val="15"/>
  <p:tag name="MIO_HDS" val="True"/>
  <p:tag name="MIO_SKIPVERSION" val="01.01.0001 00:00:00"/>
  <p:tag name="MIO_EKGUID" val="c74d7dd0-9663-4d61-90d6-65df55e085c6"/>
  <p:tag name="MIO_UPDATE" val="True"/>
  <p:tag name="MIO_VERSION" val="25.01.2018 20:01:11"/>
  <p:tag name="MIO_DBID" val="CE3BB8C3-1254-4E6D-97C6-023323F32E7C"/>
  <p:tag name="MIO_LASTDOWNLOADED" val="25.01.2018 12:01:10"/>
  <p:tag name="MIO_OBJECTNAME" val="Coriant Master2"/>
  <p:tag name="MIO_LASTEDITORNAME" val="Johanna "/>
  <p:tag name="MIO_PRESI_FIRST_SLIDENUMBER" val="1"/>
</p:tagLst>
</file>

<file path=ppt/theme/theme1.xml><?xml version="1.0" encoding="utf-8"?>
<a:theme xmlns:a="http://schemas.openxmlformats.org/drawingml/2006/main" name="Infinera-2019-PPT-Theme">
  <a:themeElements>
    <a:clrScheme name="Infinera-2019-Color-Palette">
      <a:dk1>
        <a:srgbClr val="000000"/>
      </a:dk1>
      <a:lt1>
        <a:srgbClr val="FFFFFF"/>
      </a:lt1>
      <a:dk2>
        <a:srgbClr val="5A5A5A"/>
      </a:dk2>
      <a:lt2>
        <a:srgbClr val="C90000"/>
      </a:lt2>
      <a:accent1>
        <a:srgbClr val="FF4A00"/>
      </a:accent1>
      <a:accent2>
        <a:srgbClr val="FF8500"/>
      </a:accent2>
      <a:accent3>
        <a:srgbClr val="FBB400"/>
      </a:accent3>
      <a:accent4>
        <a:srgbClr val="4BBB7C"/>
      </a:accent4>
      <a:accent5>
        <a:srgbClr val="009DFF"/>
      </a:accent5>
      <a:accent6>
        <a:srgbClr val="293F95"/>
      </a:accent6>
      <a:hlink>
        <a:srgbClr val="283F95"/>
      </a:hlink>
      <a:folHlink>
        <a:srgbClr val="283F9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bg1">
              <a:lumMod val="75000"/>
            </a:schemeClr>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91440" tIns="45720" rIns="91440" bIns="45720" rtlCol="0">
        <a:spAutoFit/>
      </a:bodyPr>
      <a:lstStyle>
        <a:defPPr algn="l">
          <a:spcBef>
            <a:spcPct val="20000"/>
          </a:spcBef>
          <a:buClr>
            <a:srgbClr val="6D6E71"/>
          </a:buCl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1" id="{1A5369F7-E3C9-4A94-9E02-D975D9826FC2}" vid="{248A2D86-BF9A-4F19-94E2-D1C963040A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D3ED14F1364A854C82295FD1DA13E8EC" ma:contentTypeVersion="127" ma:contentTypeDescription="Create a new document." ma:contentTypeScope="" ma:versionID="63110770f0a4dcce07be0d852cfe1870">
  <xsd:schema xmlns:xsd="http://www.w3.org/2001/XMLSchema" xmlns:xs="http://www.w3.org/2001/XMLSchema" xmlns:p="http://schemas.microsoft.com/office/2006/metadata/properties" xmlns:ns2="51abbc47-c2be-464f-9667-bf02faf1fccb" xmlns:ns3="9f8a46c4-3620-427b-9554-1b5473809845" targetNamespace="http://schemas.microsoft.com/office/2006/metadata/properties" ma:root="true" ma:fieldsID="6f54e68c82e9e4a474a4b85ca1d667d6" ns2:_="" ns3:_="">
    <xsd:import namespace="51abbc47-c2be-464f-9667-bf02faf1fccb"/>
    <xsd:import namespace="9f8a46c4-3620-427b-9554-1b547380984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ServiceAutoTags" minOccurs="0"/>
                <xsd:element ref="ns3:MediaServiceOCR" minOccurs="0"/>
                <xsd:element ref="ns2:SharedWithUsers" minOccurs="0"/>
                <xsd:element ref="ns2:SharedWithDetails"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abbc47-c2be-464f-9667-bf02faf1fcc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8a46c4-3620-427b-9554-1b547380984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Comment" ma:index="23" nillable="true" ma:displayName="Comment" ma:format="Dropdown" ma:internalName="Comment">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1abbc47-c2be-464f-9667-bf02faf1fccb">
      <UserInfo>
        <DisplayName>Al Honorio</DisplayName>
        <AccountId>6245</AccountId>
        <AccountType/>
      </UserInfo>
    </SharedWithUsers>
    <_dlc_DocId xmlns="51abbc47-c2be-464f-9667-bf02faf1fccb">V5D6TNRMMWP6-80733068-17838</_dlc_DocId>
    <_dlc_DocIdUrl xmlns="51abbc47-c2be-464f-9667-bf02faf1fccb">
      <Url>https://infinera.sharepoint.com/sites/smarter/_layouts/15/DocIdRedir.aspx?ID=V5D6TNRMMWP6-80733068-17838</Url>
      <Description>V5D6TNRMMWP6-80733068-17838</Description>
    </_dlc_DocIdUrl>
    <Comment xmlns="9f8a46c4-3620-427b-9554-1b5473809845"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74C34B6-CF6F-4080-8A25-C27C277E858F}">
  <ds:schemaRefs>
    <ds:schemaRef ds:uri="http://schemas.microsoft.com/sharepoint/events"/>
  </ds:schemaRefs>
</ds:datastoreItem>
</file>

<file path=customXml/itemProps2.xml><?xml version="1.0" encoding="utf-8"?>
<ds:datastoreItem xmlns:ds="http://schemas.openxmlformats.org/officeDocument/2006/customXml" ds:itemID="{7BF78EFD-622D-4289-87DF-A732C611F9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abbc47-c2be-464f-9667-bf02faf1fccb"/>
    <ds:schemaRef ds:uri="9f8a46c4-3620-427b-9554-1b54738098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3E5050B-CFBF-4736-9E56-64EB936D510D}">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purl.org/dc/terms/"/>
    <ds:schemaRef ds:uri="9f8a46c4-3620-427b-9554-1b5473809845"/>
    <ds:schemaRef ds:uri="51abbc47-c2be-464f-9667-bf02faf1fccb"/>
    <ds:schemaRef ds:uri="http://www.w3.org/XML/1998/namespace"/>
    <ds:schemaRef ds:uri="http://purl.org/dc/dcmitype/"/>
  </ds:schemaRefs>
</ds:datastoreItem>
</file>

<file path=customXml/itemProps4.xml><?xml version="1.0" encoding="utf-8"?>
<ds:datastoreItem xmlns:ds="http://schemas.openxmlformats.org/officeDocument/2006/customXml" ds:itemID="{24B84421-932E-4FB2-8D3F-606AAC57D0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finera 2020 Sept Presentation Template</Template>
  <TotalTime>5684</TotalTime>
  <Words>1052</Words>
  <Application>Microsoft Office PowerPoint</Application>
  <PresentationFormat>Widescreen</PresentationFormat>
  <Paragraphs>161</Paragraphs>
  <Slides>25</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5</vt:i4>
      </vt:variant>
    </vt:vector>
  </HeadingPairs>
  <TitlesOfParts>
    <vt:vector size="29" baseType="lpstr">
      <vt:lpstr>Arial</vt:lpstr>
      <vt:lpstr>Calibri</vt:lpstr>
      <vt:lpstr>Wingdings</vt:lpstr>
      <vt:lpstr>Infinera-2019-PPT-Theme</vt:lpstr>
      <vt:lpstr>Hollow Core Fiber: What is it, and why should you be interested?</vt:lpstr>
      <vt:lpstr>PowerPoint Presentation</vt:lpstr>
      <vt:lpstr>If you let signals go everywhere…The inverse square law</vt:lpstr>
      <vt:lpstr>PowerPoint Presentation</vt:lpstr>
      <vt:lpstr>How Does Optical Fibre Work?</vt:lpstr>
      <vt:lpstr>Silica Core Optical Fiber: Attenuation vs Wavelength</vt:lpstr>
      <vt:lpstr>Don’t shout so loud: What is a nonlinear effect?</vt:lpstr>
      <vt:lpstr>Capacity Limits of Today’s Optical Fiber</vt:lpstr>
      <vt:lpstr>Capacity at Longer Reach</vt:lpstr>
      <vt:lpstr>Latency: Glass Core vs Air Core</vt:lpstr>
      <vt:lpstr>What have I told you about conventional optical fiber?</vt:lpstr>
      <vt:lpstr>Which means that…</vt:lpstr>
      <vt:lpstr>PowerPoint Presentation</vt:lpstr>
      <vt:lpstr>Types of HCF: How they create the waveguide</vt:lpstr>
      <vt:lpstr>HCF is (mostly) a Great British Invention!!</vt:lpstr>
      <vt:lpstr>Another evolutionary view</vt:lpstr>
      <vt:lpstr>The Big News This Year (Announced at OFC)</vt:lpstr>
      <vt:lpstr>PowerPoint Presentation</vt:lpstr>
      <vt:lpstr>Today it’s all about lower latency</vt:lpstr>
      <vt:lpstr>PowerPoint Presentation</vt:lpstr>
      <vt:lpstr>Lower Attenuation Over More Spectrum</vt:lpstr>
      <vt:lpstr>Lower Nonlinear Penalty (potentially)</vt:lpstr>
      <vt:lpstr>Questions About The Practicality of HCF</vt:lpstr>
      <vt:lpstr>A really brief summary of HCF status tod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ff Bennett</dc:creator>
  <cp:lastModifiedBy>Geoff Bennett</cp:lastModifiedBy>
  <cp:revision>1</cp:revision>
  <dcterms:created xsi:type="dcterms:W3CDTF">2022-05-05T11:57:24Z</dcterms:created>
  <dcterms:modified xsi:type="dcterms:W3CDTF">2022-09-18T14:5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ED14F1364A854C82295FD1DA13E8EC</vt:lpwstr>
  </property>
  <property fmtid="{D5CDD505-2E9C-101B-9397-08002B2CF9AE}" pid="3" name="_dlc_DocIdItemGuid">
    <vt:lpwstr>5691c51a-532d-42e2-b9f4-1cfd613cb2a7</vt:lpwstr>
  </property>
</Properties>
</file>